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charts/chart28.xml" ContentType="application/vnd.openxmlformats-officedocument.drawingml.char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harts/chart13.xml" ContentType="application/vnd.openxmlformats-officedocument.drawingml.chart+xml"/>
  <Override PartName="/ppt/drawings/drawing17.xml" ContentType="application/vnd.openxmlformats-officedocument.drawingml.chartshapes+xml"/>
  <Override PartName="/ppt/charts/chart24.xml" ContentType="application/vnd.openxmlformats-officedocument.drawingml.chart+xml"/>
  <Override PartName="/ppt/drawings/drawing28.xml" ContentType="application/vnd.openxmlformats-officedocument.drawingml.chartshape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drawings/drawing13.xml" ContentType="application/vnd.openxmlformats-officedocument.drawingml.chartshapes+xml"/>
  <Override PartName="/ppt/charts/chart20.xml" ContentType="application/vnd.openxmlformats-officedocument.drawingml.chart+xml"/>
  <Override PartName="/ppt/drawings/drawing24.xml" ContentType="application/vnd.openxmlformats-officedocument.drawingml.chartshapes+xml"/>
  <Override PartName="/ppt/tags/tag12.xml" ContentType="application/vnd.openxmlformats-officedocument.presentationml.tags+xml"/>
  <Override PartName="/ppt/tags/tag23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drawings/drawing7.xml" ContentType="application/vnd.openxmlformats-officedocument.drawingml.chartshapes+xml"/>
  <Override PartName="/ppt/drawings/drawing20.xml" ContentType="application/vnd.openxmlformats-officedocument.drawingml.chartshapes+xml"/>
  <Override PartName="/ppt/drawings/drawing31.xml" ContentType="application/vnd.openxmlformats-officedocument.drawingml.chartshap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drawings/drawing3.xml" ContentType="application/vnd.openxmlformats-officedocument.drawingml.chartshapes+xml"/>
  <Override PartName="/ppt/charts/chart29.xml" ContentType="application/vnd.openxmlformats-officedocument.drawingml.chart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charts/chart25.xml" ContentType="application/vnd.openxmlformats-officedocument.drawingml.chart+xml"/>
  <Override PartName="/ppt/drawings/drawing29.xml" ContentType="application/vnd.openxmlformats-officedocument.drawingml.chartshape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ppt/drawings/drawing18.xml" ContentType="application/vnd.openxmlformats-officedocument.drawingml.chartshapes+xml"/>
  <Override PartName="/ppt/charts/chart32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charts/chart21.xml" ContentType="application/vnd.openxmlformats-officedocument.drawingml.chart+xml"/>
  <Override PartName="/ppt/drawings/drawing25.xml" ContentType="application/vnd.openxmlformats-officedocument.drawingml.chartshap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drawings/drawing14.xml" ContentType="application/vnd.openxmlformats-officedocument.drawingml.chartshapes+xml"/>
  <Override PartName="/ppt/drawings/drawing23.xml" ContentType="application/vnd.openxmlformats-officedocument.drawingml.chartshapes+xml"/>
  <Override PartName="/ppt/drawings/drawing32.xml" ContentType="application/vnd.openxmlformats-officedocument.drawingml.chartshape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charts/chart4.xml" ContentType="application/vnd.openxmlformats-officedocument.drawingml.chart+xml"/>
  <Override PartName="/ppt/drawings/drawing8.xml" ContentType="application/vnd.openxmlformats-officedocument.drawingml.chartshapes+xml"/>
  <Override PartName="/ppt/drawings/drawing12.xml" ContentType="application/vnd.openxmlformats-officedocument.drawingml.chartshapes+xml"/>
  <Override PartName="/ppt/drawings/drawing21.xml" ContentType="application/vnd.openxmlformats-officedocument.drawingml.chartshapes+xml"/>
  <Override PartName="/ppt/drawings/drawing30.xml" ContentType="application/vnd.openxmlformats-officedocument.drawingml.chartshap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ppt/drawings/drawing6.xml" ContentType="application/vnd.openxmlformats-officedocument.drawingml.chartshapes+xml"/>
  <Override PartName="/ppt/drawings/drawing10.xml" ContentType="application/vnd.openxmlformats-officedocument.drawingml.chartshape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drawings/drawing19.xml" ContentType="application/vnd.openxmlformats-officedocument.drawingml.chartshapes+xml"/>
  <Override PartName="/ppt/charts/chart26.xml" ContentType="application/vnd.openxmlformats-officedocument.drawingml.chart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charts/chart15.xml" ContentType="application/vnd.openxmlformats-officedocument.drawingml.chart+xml"/>
  <Override PartName="/ppt/charts/chart33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drawings/drawing15.xml" ContentType="application/vnd.openxmlformats-officedocument.drawingml.chartshapes+xml"/>
  <Override PartName="/ppt/charts/chart22.xml" ContentType="application/vnd.openxmlformats-officedocument.drawingml.chart+xml"/>
  <Override PartName="/ppt/drawings/drawing26.xml" ContentType="application/vnd.openxmlformats-officedocument.drawingml.chartshap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drawings/drawing9.xml" ContentType="application/vnd.openxmlformats-officedocument.drawingml.chartshapes+xml"/>
  <Override PartName="/ppt/drawings/drawing22.xml" ContentType="application/vnd.openxmlformats-officedocument.drawingml.chartshapes+xml"/>
  <Override PartName="/ppt/drawings/drawing33.xml" ContentType="application/vnd.openxmlformats-officedocument.drawingml.chartshapes+xml"/>
  <Override PartName="/ppt/charts/chart5.xml" ContentType="application/vnd.openxmlformats-officedocument.drawingml.chart+xml"/>
  <Override PartName="/ppt/drawings/drawing11.xml" ContentType="application/vnd.openxmlformats-officedocument.drawingml.chartshap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charts/chart27.xml" ContentType="application/vnd.openxmlformats-officedocument.drawingml.chart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Override PartName="/ppt/charts/chart16.xml" ContentType="application/vnd.openxmlformats-officedocument.drawingml.chart+xml"/>
  <Override PartName="/ppt/charts/chart34.xml" ContentType="application/vnd.openxmlformats-officedocument.drawingml.chart+xml"/>
  <Default Extension="jpeg" ContentType="image/jpeg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charts/chart23.xml" ContentType="application/vnd.openxmlformats-officedocument.drawingml.chart+xml"/>
  <Override PartName="/ppt/drawings/drawing27.xml" ContentType="application/vnd.openxmlformats-officedocument.drawingml.chartshape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drawings/drawing16.xml" ContentType="application/vnd.openxmlformats-officedocument.drawingml.chartshapes+xml"/>
  <Override PartName="/ppt/charts/chart30.xml" ContentType="application/vnd.openxmlformats-officedocument.drawingml.chart+xml"/>
  <Override PartName="/ppt/drawings/drawing34.xml" ContentType="application/vnd.openxmlformats-officedocument.drawingml.chartshap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sldIdLst>
    <p:sldId id="257" r:id="rId2"/>
    <p:sldId id="286" r:id="rId3"/>
    <p:sldId id="287" r:id="rId4"/>
    <p:sldId id="288" r:id="rId5"/>
    <p:sldId id="289" r:id="rId6"/>
    <p:sldId id="290" r:id="rId7"/>
    <p:sldId id="292" r:id="rId8"/>
    <p:sldId id="294" r:id="rId9"/>
    <p:sldId id="295" r:id="rId10"/>
    <p:sldId id="304" r:id="rId11"/>
    <p:sldId id="283" r:id="rId12"/>
    <p:sldId id="258" r:id="rId13"/>
    <p:sldId id="259" r:id="rId14"/>
    <p:sldId id="260" r:id="rId15"/>
    <p:sldId id="261" r:id="rId16"/>
    <p:sldId id="262" r:id="rId17"/>
    <p:sldId id="263" r:id="rId18"/>
    <p:sldId id="264" r:id="rId19"/>
    <p:sldId id="265" r:id="rId20"/>
    <p:sldId id="266" r:id="rId21"/>
    <p:sldId id="267" r:id="rId22"/>
    <p:sldId id="268" r:id="rId23"/>
    <p:sldId id="269" r:id="rId24"/>
    <p:sldId id="270" r:id="rId25"/>
    <p:sldId id="271" r:id="rId26"/>
    <p:sldId id="272" r:id="rId27"/>
    <p:sldId id="273" r:id="rId28"/>
    <p:sldId id="274" r:id="rId29"/>
    <p:sldId id="275" r:id="rId30"/>
    <p:sldId id="276" r:id="rId31"/>
    <p:sldId id="277" r:id="rId32"/>
    <p:sldId id="278" r:id="rId33"/>
    <p:sldId id="279" r:id="rId34"/>
    <p:sldId id="280" r:id="rId35"/>
    <p:sldId id="281" r:id="rId36"/>
    <p:sldId id="282" r:id="rId37"/>
    <p:sldId id="284" r:id="rId38"/>
    <p:sldId id="285" r:id="rId39"/>
    <p:sldId id="298" r:id="rId40"/>
    <p:sldId id="299" r:id="rId41"/>
    <p:sldId id="300" r:id="rId42"/>
    <p:sldId id="301" r:id="rId43"/>
    <p:sldId id="302" r:id="rId44"/>
    <p:sldId id="303" r:id="rId45"/>
    <p:sldId id="305" r:id="rId46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46ACC"/>
    <a:srgbClr val="99FF99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 varScale="1">
        <p:scale>
          <a:sx n="122" d="100"/>
          <a:sy n="122" d="100"/>
        </p:scale>
        <p:origin x="-1230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786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4.xml"/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5.xml"/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6.xml"/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7.xml"/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8.xml"/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9.xml"/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2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0.xml"/><Relationship Id="rId1" Type="http://schemas.openxmlformats.org/officeDocument/2006/relationships/package" Target="../embeddings/_____Microsoft_Office_Excel20.xlsx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1.xml"/><Relationship Id="rId1" Type="http://schemas.openxmlformats.org/officeDocument/2006/relationships/package" Target="../embeddings/_____Microsoft_Office_Excel21.xlsx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2.xml"/><Relationship Id="rId1" Type="http://schemas.openxmlformats.org/officeDocument/2006/relationships/package" Target="../embeddings/_____Microsoft_Office_Excel22.xlsx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3.xml"/><Relationship Id="rId1" Type="http://schemas.openxmlformats.org/officeDocument/2006/relationships/package" Target="../embeddings/_____Microsoft_Office_Excel23.xlsx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4.xml"/><Relationship Id="rId1" Type="http://schemas.openxmlformats.org/officeDocument/2006/relationships/package" Target="../embeddings/_____Microsoft_Office_Excel24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5.xml"/><Relationship Id="rId1" Type="http://schemas.openxmlformats.org/officeDocument/2006/relationships/package" Target="../embeddings/_____Microsoft_Office_Excel25.xlsx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6.xml"/><Relationship Id="rId1" Type="http://schemas.openxmlformats.org/officeDocument/2006/relationships/package" Target="../embeddings/_____Microsoft_Office_Excel26.xlsx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7.xml"/><Relationship Id="rId1" Type="http://schemas.openxmlformats.org/officeDocument/2006/relationships/package" Target="../embeddings/_____Microsoft_Office_Excel27.xlsx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8.xml"/><Relationship Id="rId1" Type="http://schemas.openxmlformats.org/officeDocument/2006/relationships/package" Target="../embeddings/_____Microsoft_Office_Excel28.xlsx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9.xml"/><Relationship Id="rId1" Type="http://schemas.openxmlformats.org/officeDocument/2006/relationships/package" Target="../embeddings/_____Microsoft_Office_Excel29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3.xlsx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0.xml"/><Relationship Id="rId1" Type="http://schemas.openxmlformats.org/officeDocument/2006/relationships/package" Target="../embeddings/_____Microsoft_Office_Excel30.xlsx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1.xml"/><Relationship Id="rId1" Type="http://schemas.openxmlformats.org/officeDocument/2006/relationships/package" Target="../embeddings/_____Microsoft_Office_Excel31.xlsx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2.xml"/><Relationship Id="rId1" Type="http://schemas.openxmlformats.org/officeDocument/2006/relationships/package" Target="../embeddings/_____Microsoft_Office_Excel32.xlsx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3.xml"/><Relationship Id="rId1" Type="http://schemas.openxmlformats.org/officeDocument/2006/relationships/package" Target="../embeddings/_____Microsoft_Office_Excel33.xlsx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4.xml"/><Relationship Id="rId1" Type="http://schemas.openxmlformats.org/officeDocument/2006/relationships/package" Target="../embeddings/_____Microsoft_Office_Excel34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59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595E-3"/>
                  <c:y val="-1.26984095242071E-2"/>
                </c:manualLayout>
              </c:layout>
              <c:showVal val="1"/>
            </c:dLbl>
            <c:dLbl>
              <c:idx val="1"/>
              <c:layout>
                <c:manualLayout>
                  <c:x val="-1.433917534501743E-3"/>
                  <c:y val="-6.3492063492063622E-3"/>
                </c:manualLayout>
              </c:layout>
              <c:showVal val="1"/>
            </c:dLbl>
            <c:dLbl>
              <c:idx val="2"/>
              <c:layout>
                <c:manualLayout>
                  <c:x val="-7.1684587813620531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8.602150537634452E-3"/>
                  <c:y val="-9.5238095238095264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12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49</c:v>
                </c:pt>
                <c:pt idx="1">
                  <c:v>0.61</c:v>
                </c:pt>
                <c:pt idx="2">
                  <c:v>0.35</c:v>
                </c:pt>
                <c:pt idx="3">
                  <c:v>0.78</c:v>
                </c:pt>
                <c:pt idx="4">
                  <c:v>0.47</c:v>
                </c:pt>
                <c:pt idx="5">
                  <c:v>0.27</c:v>
                </c:pt>
                <c:pt idx="6">
                  <c:v>0.65</c:v>
                </c:pt>
              </c:numCache>
            </c:numRef>
          </c:val>
        </c:ser>
        <c:shape val="box"/>
        <c:axId val="174702592"/>
        <c:axId val="174704128"/>
        <c:axId val="0"/>
      </c:bar3DChart>
      <c:catAx>
        <c:axId val="17470259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4704128"/>
        <c:crosses val="autoZero"/>
        <c:auto val="1"/>
        <c:lblAlgn val="ctr"/>
        <c:lblOffset val="100"/>
      </c:catAx>
      <c:valAx>
        <c:axId val="174704128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7470259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3.4920626191569507E-2"/>
          <c:w val="0.96845878136200658"/>
          <c:h val="0.7542222836589724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0"/>
                  <c:y val="-2.2222216667362436E-2"/>
                </c:manualLayout>
              </c:layout>
              <c:showVal val="1"/>
            </c:dLbl>
            <c:dLbl>
              <c:idx val="5"/>
              <c:layout>
                <c:manualLayout>
                  <c:x val="-4.3010752688172043E-3"/>
                  <c:y val="-1.5873015873015872E-2"/>
                </c:manualLayout>
              </c:layout>
              <c:showVal val="1"/>
            </c:dLbl>
            <c:dLbl>
              <c:idx val="6"/>
              <c:layout>
                <c:manualLayout>
                  <c:x val="1.4336917562723999E-3"/>
                  <c:y val="-3.4920626191569534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92.059200000000004</c:v>
                </c:pt>
                <c:pt idx="1">
                  <c:v>100.7598</c:v>
                </c:pt>
                <c:pt idx="2">
                  <c:v>104.8265</c:v>
                </c:pt>
                <c:pt idx="3">
                  <c:v>101.22839999999999</c:v>
                </c:pt>
                <c:pt idx="4">
                  <c:v>101.43260000000001</c:v>
                </c:pt>
                <c:pt idx="5">
                  <c:v>95.408500000000004</c:v>
                </c:pt>
                <c:pt idx="6">
                  <c:v>107.9068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4.3010752688171965E-3"/>
                  <c:y val="-2.9100185658480167E-17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1.5873011905258867E-2"/>
                </c:manualLayout>
              </c:layout>
              <c:showVal val="1"/>
            </c:dLbl>
            <c:dLbl>
              <c:idx val="2"/>
              <c:layout>
                <c:manualLayout>
                  <c:x val="1.1469534050179211E-2"/>
                  <c:y val="-1.2698409524207093E-2"/>
                </c:manualLayout>
              </c:layout>
              <c:showVal val="1"/>
            </c:dLbl>
            <c:dLbl>
              <c:idx val="3"/>
              <c:layout>
                <c:manualLayout>
                  <c:x val="-1.4336917562723995E-3"/>
                  <c:y val="-3.1746023810517742E-3"/>
                </c:manualLayout>
              </c:layout>
              <c:showVal val="1"/>
            </c:dLbl>
            <c:dLbl>
              <c:idx val="4"/>
              <c:layout>
                <c:manualLayout>
                  <c:x val="7.1684587813620193E-3"/>
                  <c:y val="-6.3492047621035571E-3"/>
                </c:manualLayout>
              </c:layout>
              <c:showVal val="1"/>
            </c:dLbl>
            <c:dLbl>
              <c:idx val="5"/>
              <c:layout>
                <c:manualLayout>
                  <c:x val="-2.8673835125448063E-3"/>
                  <c:y val="-2.2222216667362418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97.570999999999998</c:v>
                </c:pt>
                <c:pt idx="1">
                  <c:v>108.84399999999999</c:v>
                </c:pt>
                <c:pt idx="2">
                  <c:v>102.81699999999999</c:v>
                </c:pt>
                <c:pt idx="3">
                  <c:v>105.87</c:v>
                </c:pt>
                <c:pt idx="4">
                  <c:v>107.74299999999999</c:v>
                </c:pt>
                <c:pt idx="5">
                  <c:v>96.43</c:v>
                </c:pt>
                <c:pt idx="6">
                  <c:v>109.291</c:v>
                </c:pt>
              </c:numCache>
            </c:numRef>
          </c:val>
        </c:ser>
        <c:shape val="box"/>
        <c:axId val="109011328"/>
        <c:axId val="109012864"/>
        <c:axId val="0"/>
      </c:bar3DChart>
      <c:catAx>
        <c:axId val="10901132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/>
            </a:pPr>
            <a:endParaRPr lang="ru-RU"/>
          </a:p>
        </c:txPr>
        <c:crossAx val="109012864"/>
        <c:crosses val="autoZero"/>
        <c:auto val="1"/>
        <c:lblAlgn val="ctr"/>
        <c:lblOffset val="100"/>
      </c:catAx>
      <c:valAx>
        <c:axId val="109012864"/>
        <c:scaling>
          <c:orientation val="minMax"/>
          <c:min val="65"/>
        </c:scaling>
        <c:delete val="1"/>
        <c:axPos val="l"/>
        <c:majorGridlines/>
        <c:numFmt formatCode="#,##0.0" sourceLinked="1"/>
        <c:tickLblPos val="nextTo"/>
        <c:crossAx val="10901132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3.4920626191569507E-2"/>
          <c:w val="0.96845878136200658"/>
          <c:h val="0.73517466937266107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chemeClr val="accent1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chemeClr val="accent1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1.4336917562724008E-3"/>
                  <c:y val="-1.2698412698412705E-2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2.2222216667362436E-2"/>
                </c:manualLayout>
              </c:layout>
              <c:showVal val="1"/>
            </c:dLbl>
            <c:dLbl>
              <c:idx val="2"/>
              <c:layout>
                <c:manualLayout>
                  <c:x val="5.734767025089617E-3"/>
                  <c:y val="-3.4920626191569507E-2"/>
                </c:manualLayout>
              </c:layout>
              <c:showVal val="1"/>
            </c:dLbl>
            <c:dLbl>
              <c:idx val="3"/>
              <c:layout>
                <c:manualLayout>
                  <c:x val="-5.734767025089617E-3"/>
                  <c:y val="-2.2222216667362436E-2"/>
                </c:manualLayout>
              </c:layout>
              <c:showVal val="1"/>
            </c:dLbl>
            <c:dLbl>
              <c:idx val="4"/>
              <c:layout>
                <c:manualLayout>
                  <c:x val="-1.4336917562723999E-3"/>
                  <c:y val="-3.1746023810517734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ГО Эгвекинот</c:v>
                </c:pt>
                <c:pt idx="1">
                  <c:v>ГО Провиденский</c:v>
                </c:pt>
                <c:pt idx="2">
                  <c:v>Анадырский</c:v>
                </c:pt>
                <c:pt idx="3">
                  <c:v>Билибинский</c:v>
                </c:pt>
                <c:pt idx="4">
                  <c:v>Чукотский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85.355999999999995</c:v>
                </c:pt>
                <c:pt idx="1">
                  <c:v>58.572199999999995</c:v>
                </c:pt>
                <c:pt idx="2">
                  <c:v>71.846399999999988</c:v>
                </c:pt>
                <c:pt idx="3">
                  <c:v>69.908299999999997</c:v>
                </c:pt>
                <c:pt idx="4">
                  <c:v>42.15769999999999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2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00B0F0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prstClr val="black"/>
                </a:solidFill>
              </a:ln>
            </c:spPr>
          </c:dPt>
          <c:dPt>
            <c:idx val="4"/>
            <c:spPr>
              <a:solidFill>
                <a:srgbClr val="00B0F0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4336917562723992E-2"/>
                  <c:y val="-6.3492047621035537E-3"/>
                </c:manualLayout>
              </c:layout>
              <c:showVal val="1"/>
            </c:dLbl>
            <c:dLbl>
              <c:idx val="1"/>
              <c:layout>
                <c:manualLayout>
                  <c:x val="1.7204301075268821E-2"/>
                  <c:y val="-1.5873011905258867E-2"/>
                </c:manualLayout>
              </c:layout>
              <c:showVal val="1"/>
            </c:dLbl>
            <c:dLbl>
              <c:idx val="2"/>
              <c:layout>
                <c:manualLayout>
                  <c:x val="4.3010752688171982E-3"/>
                  <c:y val="-3.1746023810517734E-2"/>
                </c:manualLayout>
              </c:layout>
              <c:showVal val="1"/>
            </c:dLbl>
            <c:dLbl>
              <c:idx val="3"/>
              <c:layout>
                <c:manualLayout>
                  <c:x val="8.6021505376344259E-3"/>
                  <c:y val="-1.5873011905258895E-2"/>
                </c:manualLayout>
              </c:layout>
              <c:showVal val="1"/>
            </c:dLbl>
            <c:dLbl>
              <c:idx val="4"/>
              <c:layout>
                <c:manualLayout>
                  <c:x val="2.8673835125448063E-3"/>
                  <c:y val="-1.904761428631066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ГО Эгвекинот</c:v>
                </c:pt>
                <c:pt idx="1">
                  <c:v>ГО Провиденский</c:v>
                </c:pt>
                <c:pt idx="2">
                  <c:v>Анадырский</c:v>
                </c:pt>
                <c:pt idx="3">
                  <c:v>Билибинский</c:v>
                </c:pt>
                <c:pt idx="4">
                  <c:v>Чукотский</c:v>
                </c:pt>
              </c:strCache>
            </c:strRef>
          </c:cat>
          <c:val>
            <c:numRef>
              <c:f>Лист1!$C$2:$C$6</c:f>
              <c:numCache>
                <c:formatCode>#,##0.0</c:formatCode>
                <c:ptCount val="5"/>
                <c:pt idx="0">
                  <c:v>95.388000000000005</c:v>
                </c:pt>
                <c:pt idx="1">
                  <c:v>57.982999999999997</c:v>
                </c:pt>
                <c:pt idx="2">
                  <c:v>75.540000000000006</c:v>
                </c:pt>
                <c:pt idx="3">
                  <c:v>72.932000000000002</c:v>
                </c:pt>
                <c:pt idx="4">
                  <c:v>36.414000000000001</c:v>
                </c:pt>
              </c:numCache>
            </c:numRef>
          </c:val>
        </c:ser>
        <c:shape val="box"/>
        <c:axId val="109033728"/>
        <c:axId val="109043712"/>
        <c:axId val="0"/>
      </c:bar3DChart>
      <c:catAx>
        <c:axId val="10903372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9043712"/>
        <c:crosses val="autoZero"/>
        <c:auto val="1"/>
        <c:lblAlgn val="ctr"/>
        <c:lblOffset val="100"/>
      </c:catAx>
      <c:valAx>
        <c:axId val="109043712"/>
        <c:scaling>
          <c:orientation val="minMax"/>
          <c:min val="20"/>
        </c:scaling>
        <c:delete val="1"/>
        <c:axPos val="l"/>
        <c:majorGridlines/>
        <c:numFmt formatCode="#,##0.0" sourceLinked="1"/>
        <c:tickLblPos val="nextTo"/>
        <c:crossAx val="10903372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38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2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4"/>
              <c:layout>
                <c:manualLayout>
                  <c:x val="0"/>
                  <c:y val="-9.5238071431553196E-3"/>
                </c:manualLayout>
              </c:layout>
              <c:showVal val="1"/>
            </c:dLbl>
            <c:dLbl>
              <c:idx val="5"/>
              <c:layout>
                <c:manualLayout>
                  <c:x val="1.1469534050179211E-2"/>
                  <c:y val="-1.5873011905258867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89200000000000002</c:v>
                </c:pt>
                <c:pt idx="1">
                  <c:v>0.87</c:v>
                </c:pt>
                <c:pt idx="2">
                  <c:v>0.82299999999999995</c:v>
                </c:pt>
                <c:pt idx="3">
                  <c:v>0.874</c:v>
                </c:pt>
                <c:pt idx="4">
                  <c:v>0.88100000000000001</c:v>
                </c:pt>
                <c:pt idx="5">
                  <c:v>0.85899999999999999</c:v>
                </c:pt>
                <c:pt idx="6">
                  <c:v>0.8379999999999999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1.9047614286310681E-2"/>
                </c:manualLayout>
              </c:layout>
              <c:showVal val="1"/>
            </c:dLbl>
            <c:dLbl>
              <c:idx val="1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2"/>
              <c:layout>
                <c:manualLayout>
                  <c:x val="1.5770609318996365E-2"/>
                  <c:y val="-1.2698409524207093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649E-3"/>
                </c:manualLayout>
              </c:layout>
              <c:showVal val="1"/>
            </c:dLbl>
            <c:dLbl>
              <c:idx val="5"/>
              <c:layout>
                <c:manualLayout>
                  <c:x val="1.5770609318996327E-2"/>
                  <c:y val="-6.3492047621035649E-3"/>
                </c:manualLayout>
              </c:layout>
              <c:showVal val="1"/>
            </c:dLbl>
            <c:dLbl>
              <c:idx val="6"/>
              <c:layout>
                <c:manualLayout>
                  <c:x val="1.0035842293906704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873</c:v>
                </c:pt>
                <c:pt idx="1">
                  <c:v>0.91200000000000003</c:v>
                </c:pt>
                <c:pt idx="2">
                  <c:v>0.87</c:v>
                </c:pt>
                <c:pt idx="3">
                  <c:v>0.80700000000000005</c:v>
                </c:pt>
                <c:pt idx="4">
                  <c:v>0.82299999999999995</c:v>
                </c:pt>
                <c:pt idx="5">
                  <c:v>0.85799999999999998</c:v>
                </c:pt>
                <c:pt idx="6">
                  <c:v>0.84099999999999997</c:v>
                </c:pt>
              </c:numCache>
            </c:numRef>
          </c:val>
        </c:ser>
        <c:shape val="box"/>
        <c:axId val="109101056"/>
        <c:axId val="109102592"/>
        <c:axId val="0"/>
      </c:bar3DChart>
      <c:catAx>
        <c:axId val="10910105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9102592"/>
        <c:crosses val="autoZero"/>
        <c:auto val="1"/>
        <c:lblAlgn val="ctr"/>
        <c:lblOffset val="100"/>
      </c:catAx>
      <c:valAx>
        <c:axId val="109102592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0910105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33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1"/>
              <c:layout>
                <c:manualLayout>
                  <c:x val="8.602150537634419E-3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5238071431553196E-3"/>
                </c:manualLayout>
              </c:layout>
              <c:showVal val="1"/>
            </c:dLbl>
            <c:dLbl>
              <c:idx val="5"/>
              <c:layout>
                <c:manualLayout>
                  <c:x val="1.1469534050179211E-2"/>
                  <c:y val="-1.5873011905258867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2263</c:v>
                </c:pt>
                <c:pt idx="1">
                  <c:v>7.4999999999999997E-2</c:v>
                </c:pt>
                <c:pt idx="2">
                  <c:v>0.2</c:v>
                </c:pt>
                <c:pt idx="3">
                  <c:v>3.7999999999999999E-2</c:v>
                </c:pt>
                <c:pt idx="4" formatCode="0.0%">
                  <c:v>8.2000000000000003E-2</c:v>
                </c:pt>
                <c:pt idx="5" formatCode="0.0%">
                  <c:v>1.2999999999999999E-3</c:v>
                </c:pt>
                <c:pt idx="6">
                  <c:v>0.0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1.9047614286310667E-2"/>
                </c:manualLayout>
              </c:layout>
              <c:showVal val="1"/>
            </c:dLbl>
            <c:dLbl>
              <c:idx val="1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2"/>
              <c:layout>
                <c:manualLayout>
                  <c:x val="1.5770609318996365E-2"/>
                  <c:y val="-1.2698409524207093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571E-3"/>
                </c:manualLayout>
              </c:layout>
              <c:showVal val="1"/>
            </c:dLbl>
            <c:dLbl>
              <c:idx val="5"/>
              <c:layout>
                <c:manualLayout>
                  <c:x val="1.5770609318996327E-2"/>
                  <c:y val="-6.3492047621035571E-3"/>
                </c:manualLayout>
              </c:layout>
              <c:showVal val="1"/>
            </c:dLbl>
            <c:dLbl>
              <c:idx val="6"/>
              <c:layout>
                <c:manualLayout>
                  <c:x val="1.0035842293906704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1512</c:v>
                </c:pt>
                <c:pt idx="1">
                  <c:v>7.8E-2</c:v>
                </c:pt>
                <c:pt idx="2">
                  <c:v>7.3999999999999996E-2</c:v>
                </c:pt>
                <c:pt idx="3">
                  <c:v>3.7999999999999999E-2</c:v>
                </c:pt>
                <c:pt idx="4" formatCode="0.0%">
                  <c:v>0.06</c:v>
                </c:pt>
                <c:pt idx="5" formatCode="0.0%">
                  <c:v>0</c:v>
                </c:pt>
                <c:pt idx="6">
                  <c:v>8.6999999999999994E-2</c:v>
                </c:pt>
              </c:numCache>
            </c:numRef>
          </c:val>
        </c:ser>
        <c:shape val="box"/>
        <c:axId val="109143552"/>
        <c:axId val="109145088"/>
        <c:axId val="0"/>
      </c:bar3DChart>
      <c:catAx>
        <c:axId val="10914355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9145088"/>
        <c:crosses val="autoZero"/>
        <c:auto val="1"/>
        <c:lblAlgn val="ctr"/>
        <c:lblOffset val="100"/>
      </c:catAx>
      <c:valAx>
        <c:axId val="109145088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0914355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35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8.6021505376344259E-3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1469534050179241E-2"/>
                  <c:y val="-6.3492047621035537E-3"/>
                </c:manualLayout>
              </c:layout>
              <c:showVal val="1"/>
            </c:dLbl>
            <c:dLbl>
              <c:idx val="2"/>
              <c:layout>
                <c:manualLayout>
                  <c:x val="8.6021505376344259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261873950287E-2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5238071431553196E-3"/>
                </c:manualLayout>
              </c:layout>
              <c:showVal val="1"/>
            </c:dLbl>
            <c:dLbl>
              <c:idx val="5"/>
              <c:layout>
                <c:manualLayout>
                  <c:x val="8.6020376485198592E-3"/>
                  <c:y val="-6.3492047621035537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1.15E-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7.0000000000000007E-2</c:v>
                </c:pt>
                <c:pt idx="5">
                  <c:v>0</c:v>
                </c:pt>
                <c:pt idx="6">
                  <c:v>3.3300000000000003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537E-3"/>
                </c:manualLayout>
              </c:layout>
              <c:showVal val="1"/>
            </c:dLbl>
            <c:dLbl>
              <c:idx val="2"/>
              <c:layout>
                <c:manualLayout>
                  <c:x val="4.3009623797025404E-3"/>
                  <c:y val="-6.3492047621035537E-3"/>
                </c:manualLayout>
              </c:layout>
              <c:showVal val="1"/>
            </c:dLbl>
            <c:dLbl>
              <c:idx val="3"/>
              <c:layout>
                <c:manualLayout>
                  <c:x val="1.4336917562723992E-2"/>
                  <c:y val="-2.222221666736243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606E-3"/>
                </c:manualLayout>
              </c:layout>
              <c:showVal val="1"/>
            </c:dLbl>
            <c:dLbl>
              <c:idx val="5"/>
              <c:layout>
                <c:manualLayout>
                  <c:x val="1.2903112917337067E-2"/>
                  <c:y val="-6.3492047621035537E-3"/>
                </c:manualLayout>
              </c:layout>
              <c:showVal val="1"/>
            </c:dLbl>
            <c:dLbl>
              <c:idx val="6"/>
              <c:layout>
                <c:manualLayout>
                  <c:x val="1.0035842293906704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hape val="box"/>
        <c:axId val="109173760"/>
        <c:axId val="109191936"/>
        <c:axId val="0"/>
      </c:bar3DChart>
      <c:catAx>
        <c:axId val="10917376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9191936"/>
        <c:crosses val="autoZero"/>
        <c:auto val="1"/>
        <c:lblAlgn val="ctr"/>
        <c:lblOffset val="100"/>
      </c:catAx>
      <c:valAx>
        <c:axId val="109191936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0917376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38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8.6021505376344311E-3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4336917562724264E-3"/>
                  <c:y val="-6.3492047621035537E-3"/>
                </c:manualLayout>
              </c:layout>
              <c:showVal val="1"/>
            </c:dLbl>
            <c:dLbl>
              <c:idx val="2"/>
              <c:layout>
                <c:manualLayout>
                  <c:x val="8.6021505376344311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261873950287E-2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5238071431553196E-3"/>
                </c:manualLayout>
              </c:layout>
              <c:showVal val="1"/>
            </c:dLbl>
            <c:dLbl>
              <c:idx val="5"/>
              <c:layout>
                <c:manualLayout>
                  <c:x val="8.6020376485198644E-3"/>
                  <c:y val="-6.3492047621035571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65890000000000004</c:v>
                </c:pt>
                <c:pt idx="1">
                  <c:v>0.749</c:v>
                </c:pt>
                <c:pt idx="2">
                  <c:v>0.88460000000000005</c:v>
                </c:pt>
                <c:pt idx="3">
                  <c:v>0.85</c:v>
                </c:pt>
                <c:pt idx="4">
                  <c:v>0.75800000000000001</c:v>
                </c:pt>
                <c:pt idx="5">
                  <c:v>0.83</c:v>
                </c:pt>
                <c:pt idx="6">
                  <c:v>0.9350000000000000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571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537E-3"/>
                </c:manualLayout>
              </c:layout>
              <c:showVal val="1"/>
            </c:dLbl>
            <c:dLbl>
              <c:idx val="3"/>
              <c:layout>
                <c:manualLayout>
                  <c:x val="1.4336917562723985E-2"/>
                  <c:y val="-2.222221666736244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649E-3"/>
                </c:manualLayout>
              </c:layout>
              <c:showVal val="1"/>
            </c:dLbl>
            <c:dLbl>
              <c:idx val="5"/>
              <c:layout>
                <c:manualLayout>
                  <c:x val="1.290311291733707E-2"/>
                  <c:y val="-6.3492047621035571E-3"/>
                </c:manualLayout>
              </c:layout>
              <c:showVal val="1"/>
            </c:dLbl>
            <c:dLbl>
              <c:idx val="6"/>
              <c:layout>
                <c:manualLayout>
                  <c:x val="1.0035842293906704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63470000000000004</c:v>
                </c:pt>
                <c:pt idx="1">
                  <c:v>0.80700000000000005</c:v>
                </c:pt>
                <c:pt idx="2">
                  <c:v>0.88500000000000001</c:v>
                </c:pt>
                <c:pt idx="3">
                  <c:v>0.84899999999999998</c:v>
                </c:pt>
                <c:pt idx="4">
                  <c:v>0.94</c:v>
                </c:pt>
                <c:pt idx="5">
                  <c:v>0.83499999999999996</c:v>
                </c:pt>
                <c:pt idx="6">
                  <c:v>0.93100000000000005</c:v>
                </c:pt>
              </c:numCache>
            </c:numRef>
          </c:val>
        </c:ser>
        <c:shape val="box"/>
        <c:axId val="109216512"/>
        <c:axId val="109218048"/>
        <c:axId val="0"/>
      </c:bar3DChart>
      <c:catAx>
        <c:axId val="10921651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9218048"/>
        <c:crosses val="autoZero"/>
        <c:auto val="1"/>
        <c:lblAlgn val="ctr"/>
        <c:lblOffset val="100"/>
      </c:catAx>
      <c:valAx>
        <c:axId val="109218048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0921651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44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118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1.4336917562724253E-3"/>
                  <c:y val="-6.3492047621035632E-3"/>
                </c:manualLayout>
              </c:layout>
              <c:showVal val="1"/>
            </c:dLbl>
            <c:dLbl>
              <c:idx val="2"/>
              <c:layout>
                <c:manualLayout>
                  <c:x val="-7.1684587813620202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54E-3"/>
                  <c:y val="-1.2698409524207093E-2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2.222221666736245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</c:formatCode>
                <c:ptCount val="7"/>
                <c:pt idx="0">
                  <c:v>151.72999999999999</c:v>
                </c:pt>
                <c:pt idx="1">
                  <c:v>641.61</c:v>
                </c:pt>
                <c:pt idx="2">
                  <c:v>391.31</c:v>
                </c:pt>
                <c:pt idx="3">
                  <c:v>399.73</c:v>
                </c:pt>
                <c:pt idx="4">
                  <c:v>483</c:v>
                </c:pt>
                <c:pt idx="5">
                  <c:v>478.95</c:v>
                </c:pt>
                <c:pt idx="6">
                  <c:v>421.36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675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632E-3"/>
                </c:manualLayout>
              </c:layout>
              <c:showVal val="1"/>
            </c:dLbl>
            <c:dLbl>
              <c:idx val="3"/>
              <c:layout>
                <c:manualLayout>
                  <c:x val="1.4336917562723967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753E-3"/>
                </c:manualLayout>
              </c:layout>
              <c:showVal val="1"/>
            </c:dLbl>
            <c:dLbl>
              <c:idx val="5"/>
              <c:layout>
                <c:manualLayout>
                  <c:x val="1.2903112917337084E-2"/>
                  <c:y val="-6.3492047621035675E-3"/>
                </c:manualLayout>
              </c:layout>
              <c:showVal val="1"/>
            </c:dLbl>
            <c:dLbl>
              <c:idx val="6"/>
              <c:layout>
                <c:manualLayout>
                  <c:x val="1.4336917562723992E-2"/>
                  <c:y val="-9.5238095238095247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</c:formatCode>
                <c:ptCount val="7"/>
                <c:pt idx="0">
                  <c:v>174.83</c:v>
                </c:pt>
                <c:pt idx="1">
                  <c:v>675</c:v>
                </c:pt>
                <c:pt idx="2">
                  <c:v>468</c:v>
                </c:pt>
                <c:pt idx="3">
                  <c:v>424</c:v>
                </c:pt>
                <c:pt idx="4">
                  <c:v>507.5</c:v>
                </c:pt>
                <c:pt idx="5">
                  <c:v>345</c:v>
                </c:pt>
                <c:pt idx="6">
                  <c:v>437</c:v>
                </c:pt>
              </c:numCache>
            </c:numRef>
          </c:val>
        </c:ser>
        <c:shape val="box"/>
        <c:axId val="109328640"/>
        <c:axId val="109346816"/>
        <c:axId val="0"/>
      </c:bar3DChart>
      <c:catAx>
        <c:axId val="10932864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9346816"/>
        <c:crosses val="autoZero"/>
        <c:auto val="1"/>
        <c:lblAlgn val="ctr"/>
        <c:lblOffset val="100"/>
      </c:catAx>
      <c:valAx>
        <c:axId val="109346816"/>
        <c:scaling>
          <c:orientation val="minMax"/>
        </c:scaling>
        <c:delete val="1"/>
        <c:axPos val="l"/>
        <c:majorGridlines/>
        <c:numFmt formatCode="0.0" sourceLinked="1"/>
        <c:tickLblPos val="nextTo"/>
        <c:crossAx val="10932864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24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075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1.4336917562724257E-3"/>
                  <c:y val="-6.3492047621035589E-3"/>
                </c:manualLayout>
              </c:layout>
              <c:showVal val="1"/>
            </c:dLbl>
            <c:dLbl>
              <c:idx val="2"/>
              <c:layout>
                <c:manualLayout>
                  <c:x val="-7.1684587813620176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54E-3"/>
                  <c:y val="-1.2698409524207093E-2"/>
                </c:manualLayout>
              </c:layout>
              <c:showVal val="1"/>
            </c:dLbl>
            <c:dLbl>
              <c:idx val="6"/>
              <c:layout>
                <c:manualLayout>
                  <c:x val="-4.3010752688171974E-3"/>
                  <c:y val="-2.2222216667362439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82420000000000004</c:v>
                </c:pt>
                <c:pt idx="1">
                  <c:v>0.98099999999999998</c:v>
                </c:pt>
                <c:pt idx="2">
                  <c:v>1</c:v>
                </c:pt>
                <c:pt idx="3">
                  <c:v>0.67</c:v>
                </c:pt>
                <c:pt idx="4">
                  <c:v>0.95799999999999996</c:v>
                </c:pt>
                <c:pt idx="5">
                  <c:v>1</c:v>
                </c:pt>
                <c:pt idx="6">
                  <c:v>0.7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632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589E-3"/>
                </c:manualLayout>
              </c:layout>
              <c:showVal val="1"/>
            </c:dLbl>
            <c:dLbl>
              <c:idx val="3"/>
              <c:layout>
                <c:manualLayout>
                  <c:x val="1.4336917562723974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719E-3"/>
                </c:manualLayout>
              </c:layout>
              <c:showVal val="1"/>
            </c:dLbl>
            <c:dLbl>
              <c:idx val="5"/>
              <c:layout>
                <c:manualLayout>
                  <c:x val="1.2903112917337079E-2"/>
                  <c:y val="-6.3492047621035632E-3"/>
                </c:manualLayout>
              </c:layout>
              <c:showVal val="1"/>
            </c:dLbl>
            <c:dLbl>
              <c:idx val="6"/>
              <c:layout>
                <c:manualLayout>
                  <c:x val="7.1684587813620176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74129999999999996</c:v>
                </c:pt>
                <c:pt idx="1">
                  <c:v>0.93700000000000006</c:v>
                </c:pt>
                <c:pt idx="2">
                  <c:v>1</c:v>
                </c:pt>
                <c:pt idx="3">
                  <c:v>0.74</c:v>
                </c:pt>
                <c:pt idx="4">
                  <c:v>0.91</c:v>
                </c:pt>
                <c:pt idx="5">
                  <c:v>1</c:v>
                </c:pt>
                <c:pt idx="6">
                  <c:v>0.73399999999999999</c:v>
                </c:pt>
              </c:numCache>
            </c:numRef>
          </c:val>
        </c:ser>
        <c:shape val="box"/>
        <c:axId val="109453312"/>
        <c:axId val="109454848"/>
        <c:axId val="0"/>
      </c:bar3DChart>
      <c:catAx>
        <c:axId val="10945331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9454848"/>
        <c:crosses val="autoZero"/>
        <c:auto val="1"/>
        <c:lblAlgn val="ctr"/>
        <c:lblOffset val="100"/>
      </c:catAx>
      <c:valAx>
        <c:axId val="109454848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0945331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28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118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537E-3"/>
                </c:manualLayout>
              </c:layout>
              <c:showVal val="1"/>
            </c:dLbl>
            <c:dLbl>
              <c:idx val="2"/>
              <c:layout>
                <c:manualLayout>
                  <c:x val="-7.1684587813620202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54E-3"/>
                  <c:y val="-1.2698409524207093E-2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2.222221666736245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%</c:formatCode>
                <c:ptCount val="7"/>
                <c:pt idx="0" formatCode="0%">
                  <c:v>0.43490000000000001</c:v>
                </c:pt>
                <c:pt idx="1">
                  <c:v>0.38069999999999998</c:v>
                </c:pt>
                <c:pt idx="2" formatCode="0%">
                  <c:v>0.53</c:v>
                </c:pt>
                <c:pt idx="3" formatCode="0%">
                  <c:v>0.29199999999999998</c:v>
                </c:pt>
                <c:pt idx="4" formatCode="0%">
                  <c:v>0.4</c:v>
                </c:pt>
                <c:pt idx="5" formatCode="0%">
                  <c:v>0.31900000000000001</c:v>
                </c:pt>
                <c:pt idx="6" formatCode="0%">
                  <c:v>0.5142999999999999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675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632E-3"/>
                </c:manualLayout>
              </c:layout>
              <c:showVal val="1"/>
            </c:dLbl>
            <c:dLbl>
              <c:idx val="3"/>
              <c:layout>
                <c:manualLayout>
                  <c:x val="1.4336917562723967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753E-3"/>
                </c:manualLayout>
              </c:layout>
              <c:showVal val="1"/>
            </c:dLbl>
            <c:dLbl>
              <c:idx val="5"/>
              <c:layout>
                <c:manualLayout>
                  <c:x val="1.2903112917337084E-2"/>
                  <c:y val="-6.3492047621035675E-3"/>
                </c:manualLayout>
              </c:layout>
              <c:showVal val="1"/>
            </c:dLbl>
            <c:dLbl>
              <c:idx val="6"/>
              <c:layout>
                <c:manualLayout>
                  <c:x val="7.1684587813620202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%</c:formatCode>
                <c:ptCount val="7"/>
                <c:pt idx="0" formatCode="0%">
                  <c:v>0.44169999999999998</c:v>
                </c:pt>
                <c:pt idx="1">
                  <c:v>0.36899999999999999</c:v>
                </c:pt>
                <c:pt idx="2" formatCode="0%">
                  <c:v>0.52</c:v>
                </c:pt>
                <c:pt idx="3" formatCode="0%">
                  <c:v>0.33300000000000002</c:v>
                </c:pt>
                <c:pt idx="4" formatCode="0%">
                  <c:v>0.35</c:v>
                </c:pt>
                <c:pt idx="5" formatCode="0%">
                  <c:v>0.4</c:v>
                </c:pt>
                <c:pt idx="6" formatCode="0%">
                  <c:v>0.51400000000000001</c:v>
                </c:pt>
              </c:numCache>
            </c:numRef>
          </c:val>
        </c:ser>
        <c:shape val="box"/>
        <c:axId val="109508096"/>
        <c:axId val="109509632"/>
        <c:axId val="0"/>
      </c:bar3DChart>
      <c:catAx>
        <c:axId val="10950809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9509632"/>
        <c:crosses val="autoZero"/>
        <c:auto val="1"/>
        <c:lblAlgn val="ctr"/>
        <c:lblOffset val="100"/>
      </c:catAx>
      <c:valAx>
        <c:axId val="109509632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0950809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30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153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571E-3"/>
                </c:manualLayout>
              </c:layout>
              <c:showVal val="1"/>
            </c:dLbl>
            <c:dLbl>
              <c:idx val="2"/>
              <c:layout>
                <c:manualLayout>
                  <c:x val="-7.1684587813620236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54E-3"/>
                  <c:y val="-1.2698409524207093E-2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2.2222216667362456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85599999999999998</c:v>
                </c:pt>
                <c:pt idx="1">
                  <c:v>0.98499999999999999</c:v>
                </c:pt>
                <c:pt idx="2">
                  <c:v>1</c:v>
                </c:pt>
                <c:pt idx="3">
                  <c:v>0.77400000000000002</c:v>
                </c:pt>
                <c:pt idx="4">
                  <c:v>0.8</c:v>
                </c:pt>
                <c:pt idx="5">
                  <c:v>0.627</c:v>
                </c:pt>
                <c:pt idx="6">
                  <c:v>0.7614999999999999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719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675E-3"/>
                </c:manualLayout>
              </c:layout>
              <c:showVal val="1"/>
            </c:dLbl>
            <c:dLbl>
              <c:idx val="3"/>
              <c:layout>
                <c:manualLayout>
                  <c:x val="1.4336917562723959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788E-3"/>
                </c:manualLayout>
              </c:layout>
              <c:showVal val="1"/>
            </c:dLbl>
            <c:dLbl>
              <c:idx val="5"/>
              <c:layout>
                <c:manualLayout>
                  <c:x val="1.290311291733709E-2"/>
                  <c:y val="-6.3492047621035719E-3"/>
                </c:manualLayout>
              </c:layout>
              <c:showVal val="1"/>
            </c:dLbl>
            <c:dLbl>
              <c:idx val="6"/>
              <c:layout>
                <c:manualLayout>
                  <c:x val="7.1684587813620236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95020000000000004</c:v>
                </c:pt>
                <c:pt idx="1">
                  <c:v>0.96199999999999997</c:v>
                </c:pt>
                <c:pt idx="2">
                  <c:v>1</c:v>
                </c:pt>
                <c:pt idx="3">
                  <c:v>0.77800000000000002</c:v>
                </c:pt>
                <c:pt idx="4">
                  <c:v>0.77</c:v>
                </c:pt>
                <c:pt idx="5">
                  <c:v>0.62</c:v>
                </c:pt>
                <c:pt idx="6">
                  <c:v>0.76200000000000001</c:v>
                </c:pt>
              </c:numCache>
            </c:numRef>
          </c:val>
        </c:ser>
        <c:shape val="box"/>
        <c:axId val="113351680"/>
        <c:axId val="113365760"/>
        <c:axId val="0"/>
      </c:bar3DChart>
      <c:catAx>
        <c:axId val="11335168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13365760"/>
        <c:crosses val="autoZero"/>
        <c:auto val="1"/>
        <c:lblAlgn val="ctr"/>
        <c:lblOffset val="100"/>
      </c:catAx>
      <c:valAx>
        <c:axId val="113365760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1335168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699943736459037E-2"/>
          <c:y val="1.9711610122808722E-2"/>
          <c:w val="0.96852955732423962"/>
          <c:h val="0.7784564336865308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2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2.867363443509336E-3"/>
                  <c:y val="-1.6460794405714789E-2"/>
                </c:manualLayout>
              </c:layout>
              <c:showVal val="1"/>
            </c:dLbl>
            <c:dLbl>
              <c:idx val="1"/>
              <c:layout>
                <c:manualLayout>
                  <c:x val="5.7347268870186416E-3"/>
                  <c:y val="-1.9752953286857784E-2"/>
                </c:manualLayout>
              </c:layout>
              <c:showVal val="1"/>
            </c:dLbl>
            <c:dLbl>
              <c:idx val="2"/>
              <c:layout>
                <c:manualLayout>
                  <c:x val="1.1469453774037351E-2"/>
                  <c:y val="-9.8764766434289043E-3"/>
                </c:manualLayout>
              </c:layout>
              <c:showVal val="1"/>
            </c:dLbl>
            <c:dLbl>
              <c:idx val="3"/>
              <c:layout>
                <c:manualLayout>
                  <c:x val="5.7347268870186711E-3"/>
                  <c:y val="-6.584317762285909E-3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1.6460794405714789E-2"/>
                </c:manualLayout>
              </c:layout>
              <c:showVal val="1"/>
            </c:dLbl>
            <c:dLbl>
              <c:idx val="5"/>
              <c:layout>
                <c:manualLayout>
                  <c:x val="-1.4336817217546641E-3"/>
                  <c:y val="-1.9752953286857784E-2"/>
                </c:manualLayout>
              </c:layout>
              <c:showVal val="1"/>
            </c:dLbl>
            <c:txPr>
              <a:bodyPr/>
              <a:lstStyle/>
              <a:p>
                <a:pPr>
                  <a:defRPr sz="1299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16.318000000000001</c:v>
                </c:pt>
                <c:pt idx="1">
                  <c:v>5.0439999999999996</c:v>
                </c:pt>
                <c:pt idx="2">
                  <c:v>3.6139999999999999</c:v>
                </c:pt>
                <c:pt idx="3">
                  <c:v>5.2590000000000003</c:v>
                </c:pt>
                <c:pt idx="4">
                  <c:v>8.2750000000000004</c:v>
                </c:pt>
                <c:pt idx="5">
                  <c:v>7.4580000000000002</c:v>
                </c:pt>
                <c:pt idx="6">
                  <c:v>4.006999999999999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7204180661056043E-2"/>
                  <c:y val="-9.8764766434289043E-3"/>
                </c:manualLayout>
              </c:layout>
              <c:showVal val="1"/>
            </c:dLbl>
            <c:dLbl>
              <c:idx val="1"/>
              <c:layout>
                <c:manualLayout>
                  <c:x val="1.0035772052282647E-2"/>
                  <c:y val="-1.316863552457182E-2"/>
                </c:manualLayout>
              </c:layout>
              <c:showVal val="1"/>
            </c:dLbl>
            <c:dLbl>
              <c:idx val="2"/>
              <c:layout>
                <c:manualLayout>
                  <c:x val="1.0035772052282647E-2"/>
                  <c:y val="0"/>
                </c:manualLayout>
              </c:layout>
              <c:showVal val="1"/>
            </c:dLbl>
            <c:dLbl>
              <c:idx val="3"/>
              <c:layout>
                <c:manualLayout>
                  <c:x val="4.3010451652639942E-3"/>
                  <c:y val="-3.2921588811429636E-3"/>
                </c:manualLayout>
              </c:layout>
              <c:showVal val="1"/>
            </c:dLbl>
            <c:dLbl>
              <c:idx val="4"/>
              <c:layout>
                <c:manualLayout>
                  <c:x val="8.6020903305280283E-3"/>
                  <c:y val="-1.316889474968062E-2"/>
                </c:manualLayout>
              </c:layout>
              <c:showVal val="1"/>
            </c:dLbl>
            <c:dLbl>
              <c:idx val="5"/>
              <c:layout>
                <c:manualLayout>
                  <c:x val="1.4336817217547703E-3"/>
                  <c:y val="-1.6460794405714789E-2"/>
                </c:manualLayout>
              </c:layout>
              <c:showVal val="1"/>
            </c:dLbl>
            <c:txPr>
              <a:bodyPr/>
              <a:lstStyle/>
              <a:p>
                <a:pPr>
                  <a:defRPr sz="1299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16.010000000000002</c:v>
                </c:pt>
                <c:pt idx="1">
                  <c:v>5.0529999999999999</c:v>
                </c:pt>
                <c:pt idx="2">
                  <c:v>3.5619999999999998</c:v>
                </c:pt>
                <c:pt idx="3">
                  <c:v>5.492</c:v>
                </c:pt>
                <c:pt idx="4">
                  <c:v>8.3849999999999998</c:v>
                </c:pt>
                <c:pt idx="5">
                  <c:v>7.452</c:v>
                </c:pt>
                <c:pt idx="6">
                  <c:v>3.9540000000000002</c:v>
                </c:pt>
              </c:numCache>
            </c:numRef>
          </c:val>
        </c:ser>
        <c:shape val="box"/>
        <c:axId val="137586176"/>
        <c:axId val="137588096"/>
        <c:axId val="0"/>
      </c:bar3DChart>
      <c:catAx>
        <c:axId val="13758617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996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37588096"/>
        <c:crosses val="autoZero"/>
        <c:auto val="1"/>
        <c:lblAlgn val="ctr"/>
        <c:lblOffset val="100"/>
      </c:catAx>
      <c:valAx>
        <c:axId val="137588096"/>
        <c:scaling>
          <c:orientation val="minMax"/>
          <c:max val="17"/>
          <c:min val="2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13758617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6"/>
      </a:pPr>
      <a:endParaRPr lang="ru-RU"/>
    </a:p>
  </c:txPr>
  <c:externalData r:id="rId1"/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42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37E-3"/>
                  <c:y val="-1.26984095242071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753E-3"/>
                </c:manualLayout>
              </c:layout>
              <c:showVal val="1"/>
            </c:dLbl>
            <c:dLbl>
              <c:idx val="2"/>
              <c:layout>
                <c:manualLayout>
                  <c:x val="-7.1684587813620375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2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62E-3"/>
                  <c:y val="-1.26984095242071E-2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2.2222216667362498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18.399999999999999</c:v>
                </c:pt>
                <c:pt idx="1">
                  <c:v>24.3</c:v>
                </c:pt>
                <c:pt idx="2">
                  <c:v>23.6</c:v>
                </c:pt>
                <c:pt idx="3">
                  <c:v>26.4</c:v>
                </c:pt>
                <c:pt idx="4">
                  <c:v>25.7</c:v>
                </c:pt>
                <c:pt idx="5">
                  <c:v>33.6</c:v>
                </c:pt>
                <c:pt idx="6">
                  <c:v>19.6000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3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2E-2"/>
                  <c:y val="-6.3492047621035858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84E-3"/>
                </c:manualLayout>
              </c:layout>
              <c:showVal val="1"/>
            </c:dLbl>
            <c:dLbl>
              <c:idx val="3"/>
              <c:layout>
                <c:manualLayout>
                  <c:x val="1.4336917562723929E-2"/>
                  <c:y val="-2.2222216667362498E-2"/>
                </c:manualLayout>
              </c:layout>
              <c:showVal val="1"/>
            </c:dLbl>
            <c:dLbl>
              <c:idx val="4"/>
              <c:layout>
                <c:manualLayout>
                  <c:x val="1.2903225806451623E-2"/>
                  <c:y val="-6.3492047621035918E-3"/>
                </c:manualLayout>
              </c:layout>
              <c:showVal val="1"/>
            </c:dLbl>
            <c:dLbl>
              <c:idx val="5"/>
              <c:layout>
                <c:manualLayout>
                  <c:x val="1.2903112917337114E-2"/>
                  <c:y val="-6.3492047621035858E-3"/>
                </c:manualLayout>
              </c:layout>
              <c:showVal val="1"/>
            </c:dLbl>
            <c:dLbl>
              <c:idx val="6"/>
              <c:layout>
                <c:manualLayout>
                  <c:x val="7.1684587813620375E-3"/>
                  <c:y val="-9.5238071431553214E-3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18.8</c:v>
                </c:pt>
                <c:pt idx="1">
                  <c:v>24.1</c:v>
                </c:pt>
                <c:pt idx="2">
                  <c:v>23.2</c:v>
                </c:pt>
                <c:pt idx="3">
                  <c:v>26</c:v>
                </c:pt>
                <c:pt idx="4">
                  <c:v>25.4</c:v>
                </c:pt>
                <c:pt idx="5">
                  <c:v>32.6</c:v>
                </c:pt>
                <c:pt idx="6">
                  <c:v>19.7</c:v>
                </c:pt>
              </c:numCache>
            </c:numRef>
          </c:val>
        </c:ser>
        <c:shape val="box"/>
        <c:axId val="144614144"/>
        <c:axId val="144615680"/>
        <c:axId val="0"/>
      </c:bar3DChart>
      <c:catAx>
        <c:axId val="14461414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2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44615680"/>
        <c:crosses val="autoZero"/>
        <c:auto val="1"/>
        <c:lblAlgn val="ctr"/>
        <c:lblOffset val="100"/>
      </c:catAx>
      <c:valAx>
        <c:axId val="144615680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14461414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2"/>
      </a:pPr>
      <a:endParaRPr lang="ru-RU"/>
    </a:p>
  </c:txPr>
  <c:externalData r:id="rId1"/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38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257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675E-3"/>
                </c:manualLayout>
              </c:layout>
              <c:showVal val="1"/>
            </c:dLbl>
            <c:dLbl>
              <c:idx val="2"/>
              <c:layout>
                <c:manualLayout>
                  <c:x val="-7.1684587813620323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7.1683458922473424E-3"/>
                  <c:y val="-3.1746031746031746E-3"/>
                </c:manualLayout>
              </c:layout>
              <c:showVal val="1"/>
            </c:dLbl>
            <c:dLbl>
              <c:idx val="6"/>
              <c:layout>
                <c:manualLayout>
                  <c:x val="-4.3010752688171982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.35</c:v>
                </c:pt>
                <c:pt idx="5">
                  <c:v>0.03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805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771E-3"/>
                </c:manualLayout>
              </c:layout>
              <c:showVal val="1"/>
            </c:dLbl>
            <c:dLbl>
              <c:idx val="3"/>
              <c:layout>
                <c:manualLayout>
                  <c:x val="1.433691756272394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858E-3"/>
                </c:manualLayout>
              </c:layout>
              <c:showVal val="1"/>
            </c:dLbl>
            <c:dLbl>
              <c:idx val="5"/>
              <c:layout>
                <c:manualLayout>
                  <c:x val="1.2903112917337105E-2"/>
                  <c:y val="-6.3492047621035805E-3"/>
                </c:manualLayout>
              </c:layout>
              <c:showVal val="1"/>
            </c:dLbl>
            <c:dLbl>
              <c:idx val="6"/>
              <c:layout>
                <c:manualLayout>
                  <c:x val="7.1684587813620323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.35</c:v>
                </c:pt>
                <c:pt idx="5">
                  <c:v>0.03</c:v>
                </c:pt>
                <c:pt idx="6">
                  <c:v>1</c:v>
                </c:pt>
              </c:numCache>
            </c:numRef>
          </c:val>
        </c:ser>
        <c:shape val="box"/>
        <c:axId val="144865536"/>
        <c:axId val="145309696"/>
        <c:axId val="0"/>
      </c:bar3DChart>
      <c:catAx>
        <c:axId val="14486553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45309696"/>
        <c:crosses val="autoZero"/>
        <c:auto val="1"/>
        <c:lblAlgn val="ctr"/>
        <c:lblOffset val="100"/>
      </c:catAx>
      <c:valAx>
        <c:axId val="145309696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4486553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40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318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719E-3"/>
                </c:manualLayout>
              </c:layout>
              <c:showVal val="1"/>
            </c:dLbl>
            <c:dLbl>
              <c:idx val="2"/>
              <c:layout>
                <c:manualLayout>
                  <c:x val="-7.1684587813620341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7.1683458922473424E-3"/>
                  <c:y val="-3.1746031746031746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2</c:v>
                </c:pt>
                <c:pt idx="1">
                  <c:v>0.5</c:v>
                </c:pt>
                <c:pt idx="2">
                  <c:v>0.33</c:v>
                </c:pt>
                <c:pt idx="3">
                  <c:v>0</c:v>
                </c:pt>
                <c:pt idx="4">
                  <c:v>0.83299999999999996</c:v>
                </c:pt>
                <c:pt idx="5">
                  <c:v>0</c:v>
                </c:pt>
                <c:pt idx="6">
                  <c:v>0.8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832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805E-3"/>
                </c:manualLayout>
              </c:layout>
              <c:showVal val="1"/>
            </c:dLbl>
            <c:dLbl>
              <c:idx val="3"/>
              <c:layout>
                <c:manualLayout>
                  <c:x val="1.4336917562723933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892E-3"/>
                </c:manualLayout>
              </c:layout>
              <c:showVal val="1"/>
            </c:dLbl>
            <c:dLbl>
              <c:idx val="5"/>
              <c:layout>
                <c:manualLayout>
                  <c:x val="1.2903112917337109E-2"/>
                  <c:y val="-6.3492047621035832E-3"/>
                </c:manualLayout>
              </c:layout>
              <c:showVal val="1"/>
            </c:dLbl>
            <c:dLbl>
              <c:idx val="6"/>
              <c:layout>
                <c:manualLayout>
                  <c:x val="7.1684587813620341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2</c:v>
                </c:pt>
                <c:pt idx="1">
                  <c:v>0.5</c:v>
                </c:pt>
                <c:pt idx="2">
                  <c:v>0.33</c:v>
                </c:pt>
                <c:pt idx="3">
                  <c:v>0</c:v>
                </c:pt>
                <c:pt idx="4">
                  <c:v>0.83299999999999996</c:v>
                </c:pt>
                <c:pt idx="5">
                  <c:v>0</c:v>
                </c:pt>
                <c:pt idx="6">
                  <c:v>0.875</c:v>
                </c:pt>
              </c:numCache>
            </c:numRef>
          </c:val>
        </c:ser>
        <c:shape val="box"/>
        <c:axId val="145391616"/>
        <c:axId val="145393152"/>
        <c:axId val="0"/>
      </c:bar3DChart>
      <c:catAx>
        <c:axId val="14539161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45393152"/>
        <c:crosses val="autoZero"/>
        <c:auto val="1"/>
        <c:lblAlgn val="ctr"/>
        <c:lblOffset val="100"/>
      </c:catAx>
      <c:valAx>
        <c:axId val="145393152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4539161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48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439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805E-3"/>
                </c:manualLayout>
              </c:layout>
              <c:showVal val="1"/>
            </c:dLbl>
            <c:dLbl>
              <c:idx val="2"/>
              <c:layout>
                <c:manualLayout>
                  <c:x val="-7.168458781362041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7.1683458922473424E-3"/>
                  <c:y val="-3.1746031746031746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1</c:v>
                </c:pt>
                <c:pt idx="1">
                  <c:v>0.1308</c:v>
                </c:pt>
                <c:pt idx="2">
                  <c:v>1</c:v>
                </c:pt>
                <c:pt idx="3">
                  <c:v>0.96830000000000005</c:v>
                </c:pt>
                <c:pt idx="4" formatCode="0.00%">
                  <c:v>4.0000000000000002E-4</c:v>
                </c:pt>
                <c:pt idx="5">
                  <c:v>0.45900000000000002</c:v>
                </c:pt>
                <c:pt idx="6">
                  <c:v>0.4580000000000000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2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901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875E-3"/>
                </c:manualLayout>
              </c:layout>
              <c:showVal val="1"/>
            </c:dLbl>
            <c:dLbl>
              <c:idx val="3"/>
              <c:layout>
                <c:manualLayout>
                  <c:x val="1.4336917562723912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953E-3"/>
                </c:manualLayout>
              </c:layout>
              <c:showVal val="1"/>
            </c:dLbl>
            <c:dLbl>
              <c:idx val="5"/>
              <c:layout>
                <c:manualLayout>
                  <c:x val="1.2903112917337122E-2"/>
                  <c:y val="-6.3492047621035901E-3"/>
                </c:manualLayout>
              </c:layout>
              <c:showVal val="1"/>
            </c:dLbl>
            <c:dLbl>
              <c:idx val="6"/>
              <c:layout>
                <c:manualLayout>
                  <c:x val="7.168458781362041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1</c:v>
                </c:pt>
                <c:pt idx="1">
                  <c:v>0.1308</c:v>
                </c:pt>
                <c:pt idx="2">
                  <c:v>1</c:v>
                </c:pt>
                <c:pt idx="3">
                  <c:v>0.96830000000000005</c:v>
                </c:pt>
                <c:pt idx="4" formatCode="0.00%">
                  <c:v>1</c:v>
                </c:pt>
                <c:pt idx="5" formatCode="0.0%">
                  <c:v>0.45900000000000002</c:v>
                </c:pt>
                <c:pt idx="6" formatCode="0.0%">
                  <c:v>0.80600000000000005</c:v>
                </c:pt>
              </c:numCache>
            </c:numRef>
          </c:val>
        </c:ser>
        <c:shape val="box"/>
        <c:axId val="145643008"/>
        <c:axId val="145644544"/>
        <c:axId val="0"/>
      </c:bar3DChart>
      <c:catAx>
        <c:axId val="14564300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45644544"/>
        <c:crosses val="autoZero"/>
        <c:auto val="1"/>
        <c:lblAlgn val="ctr"/>
        <c:lblOffset val="100"/>
      </c:catAx>
      <c:valAx>
        <c:axId val="145644544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14564300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50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482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832E-3"/>
                </c:manualLayout>
              </c:layout>
              <c:showVal val="1"/>
            </c:dLbl>
            <c:dLbl>
              <c:idx val="2"/>
              <c:layout>
                <c:manualLayout>
                  <c:x val="-7.1684587813620427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8.6021505376344346E-3"/>
                  <c:y val="-9.5238095238095247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%</c:formatCode>
                <c:ptCount val="7"/>
                <c:pt idx="0">
                  <c:v>0.1072</c:v>
                </c:pt>
                <c:pt idx="1">
                  <c:v>0.44500000000000001</c:v>
                </c:pt>
                <c:pt idx="2">
                  <c:v>0.1</c:v>
                </c:pt>
                <c:pt idx="3">
                  <c:v>0.27500000000000002</c:v>
                </c:pt>
                <c:pt idx="4">
                  <c:v>4.4999999999999998E-2</c:v>
                </c:pt>
                <c:pt idx="5">
                  <c:v>0.36780000000000002</c:v>
                </c:pt>
                <c:pt idx="6">
                  <c:v>2.8E-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2.0071684587813693E-2"/>
                  <c:y val="-3.1746031746031746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901E-3"/>
                </c:manualLayout>
              </c:layout>
              <c:showVal val="1"/>
            </c:dLbl>
            <c:dLbl>
              <c:idx val="3"/>
              <c:layout>
                <c:manualLayout>
                  <c:x val="2.5806451612903236E-2"/>
                  <c:y val="-2.2222222222222251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988E-3"/>
                </c:manualLayout>
              </c:layout>
              <c:showVal val="1"/>
            </c:dLbl>
            <c:dLbl>
              <c:idx val="5"/>
              <c:layout>
                <c:manualLayout>
                  <c:x val="1.2903112917337126E-2"/>
                  <c:y val="-6.3492047621035918E-3"/>
                </c:manualLayout>
              </c:layout>
              <c:showVal val="1"/>
            </c:dLbl>
            <c:dLbl>
              <c:idx val="6"/>
              <c:layout>
                <c:manualLayout>
                  <c:x val="7.1684587813620427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%</c:formatCode>
                <c:ptCount val="7"/>
                <c:pt idx="0">
                  <c:v>0.1333</c:v>
                </c:pt>
                <c:pt idx="1">
                  <c:v>0.251</c:v>
                </c:pt>
                <c:pt idx="2">
                  <c:v>0.104</c:v>
                </c:pt>
                <c:pt idx="3">
                  <c:v>0.16900000000000001</c:v>
                </c:pt>
                <c:pt idx="4">
                  <c:v>0.12</c:v>
                </c:pt>
                <c:pt idx="5">
                  <c:v>0.17899999999999999</c:v>
                </c:pt>
                <c:pt idx="6">
                  <c:v>2E-3</c:v>
                </c:pt>
              </c:numCache>
            </c:numRef>
          </c:val>
        </c:ser>
        <c:shape val="box"/>
        <c:axId val="146033664"/>
        <c:axId val="146055936"/>
        <c:axId val="0"/>
      </c:bar3DChart>
      <c:catAx>
        <c:axId val="14603366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46055936"/>
        <c:crosses val="autoZero"/>
        <c:auto val="1"/>
        <c:lblAlgn val="ctr"/>
        <c:lblOffset val="100"/>
      </c:catAx>
      <c:valAx>
        <c:axId val="146055936"/>
        <c:scaling>
          <c:orientation val="minMax"/>
        </c:scaling>
        <c:delete val="1"/>
        <c:axPos val="l"/>
        <c:majorGridlines/>
        <c:numFmt formatCode="0.0%" sourceLinked="1"/>
        <c:tickLblPos val="nextTo"/>
        <c:crossAx val="14603366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49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2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456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1.4339175345017389E-3"/>
                  <c:y val="-6.3492063492063544E-3"/>
                </c:manualLayout>
              </c:layout>
              <c:showVal val="1"/>
            </c:dLbl>
            <c:dLbl>
              <c:idx val="2"/>
              <c:layout>
                <c:manualLayout>
                  <c:x val="-5.7347670250896118E-3"/>
                  <c:y val="-1.5873015873015879E-2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4008E-3"/>
                  <c:y val="-9.5238095238095247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%</c:formatCode>
                <c:ptCount val="7"/>
                <c:pt idx="0">
                  <c:v>0.83169999999999999</c:v>
                </c:pt>
                <c:pt idx="1">
                  <c:v>0.17199999999999999</c:v>
                </c:pt>
                <c:pt idx="2">
                  <c:v>0.122</c:v>
                </c:pt>
                <c:pt idx="3">
                  <c:v>0.51400000000000001</c:v>
                </c:pt>
                <c:pt idx="4">
                  <c:v>0.24399999999999999</c:v>
                </c:pt>
                <c:pt idx="5">
                  <c:v>0.24399999999999999</c:v>
                </c:pt>
                <c:pt idx="6">
                  <c:v>0.101000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2.4372759856630823E-2"/>
                  <c:y val="-6.3492063492063518E-3"/>
                </c:manualLayout>
              </c:layout>
              <c:showVal val="1"/>
            </c:dLbl>
            <c:dLbl>
              <c:idx val="1"/>
              <c:layout>
                <c:manualLayout>
                  <c:x val="2.0071684587813686E-2"/>
                  <c:y val="-3.1746031746031746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892E-3"/>
                </c:manualLayout>
              </c:layout>
              <c:showVal val="1"/>
            </c:dLbl>
            <c:dLbl>
              <c:idx val="3"/>
              <c:layout>
                <c:manualLayout>
                  <c:x val="1.86379928315412E-2"/>
                  <c:y val="-1.2698412698412705E-2"/>
                </c:manualLayout>
              </c:layout>
              <c:showVal val="1"/>
            </c:dLbl>
            <c:dLbl>
              <c:idx val="4"/>
              <c:layout>
                <c:manualLayout>
                  <c:x val="2.150537634408603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2.2938842322129248E-2"/>
                  <c:y val="-1.5873015873015879E-2"/>
                </c:manualLayout>
              </c:layout>
              <c:showVal val="1"/>
            </c:dLbl>
            <c:dLbl>
              <c:idx val="6"/>
              <c:layout>
                <c:manualLayout>
                  <c:x val="7.1684587813620419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%</c:formatCode>
                <c:ptCount val="7"/>
                <c:pt idx="0">
                  <c:v>0.5212</c:v>
                </c:pt>
                <c:pt idx="1">
                  <c:v>9.2999999999999999E-2</c:v>
                </c:pt>
                <c:pt idx="2">
                  <c:v>0.107</c:v>
                </c:pt>
                <c:pt idx="3">
                  <c:v>0.17399999999999999</c:v>
                </c:pt>
                <c:pt idx="4">
                  <c:v>0.22</c:v>
                </c:pt>
                <c:pt idx="5">
                  <c:v>0.20899999999999999</c:v>
                </c:pt>
                <c:pt idx="6">
                  <c:v>0.04</c:v>
                </c:pt>
              </c:numCache>
            </c:numRef>
          </c:val>
        </c:ser>
        <c:shape val="box"/>
        <c:axId val="166945536"/>
        <c:axId val="166947072"/>
        <c:axId val="0"/>
      </c:bar3DChart>
      <c:catAx>
        <c:axId val="16694553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6947072"/>
        <c:crosses val="autoZero"/>
        <c:auto val="1"/>
        <c:lblAlgn val="ctr"/>
        <c:lblOffset val="100"/>
      </c:catAx>
      <c:valAx>
        <c:axId val="166947072"/>
        <c:scaling>
          <c:orientation val="minMax"/>
        </c:scaling>
        <c:delete val="1"/>
        <c:axPos val="l"/>
        <c:majorGridlines/>
        <c:numFmt formatCode="0.0%" sourceLinked="1"/>
        <c:tickLblPos val="nextTo"/>
        <c:crossAx val="16694553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51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5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1.43391753450174E-3"/>
                  <c:y val="-6.3492063492063561E-3"/>
                </c:manualLayout>
              </c:layout>
              <c:showVal val="1"/>
            </c:dLbl>
            <c:dLbl>
              <c:idx val="2"/>
              <c:layout>
                <c:manualLayout>
                  <c:x val="-7.1684587813620445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8.6021505376344364E-3"/>
                  <c:y val="-9.5238095238095247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7.3259999999999996</c:v>
                </c:pt>
                <c:pt idx="1">
                  <c:v>18.371299999999998</c:v>
                </c:pt>
                <c:pt idx="2">
                  <c:v>39.485300000000002</c:v>
                </c:pt>
                <c:pt idx="3">
                  <c:v>34.174939999999999</c:v>
                </c:pt>
                <c:pt idx="4">
                  <c:v>25.003499999999999</c:v>
                </c:pt>
                <c:pt idx="5">
                  <c:v>14.844700000000001</c:v>
                </c:pt>
                <c:pt idx="6">
                  <c:v>21.95009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5770609318996421E-2"/>
                  <c:y val="-6.3492063492063561E-3"/>
                </c:manualLayout>
              </c:layout>
              <c:showVal val="1"/>
            </c:dLbl>
            <c:dLbl>
              <c:idx val="1"/>
              <c:layout>
                <c:manualLayout>
                  <c:x val="7.1684587813620124E-3"/>
                  <c:y val="-9.5238095238095247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91E-3"/>
                </c:manualLayout>
              </c:layout>
              <c:showVal val="1"/>
            </c:dLbl>
            <c:dLbl>
              <c:idx val="3"/>
              <c:layout>
                <c:manualLayout>
                  <c:x val="1.8637992831541196E-2"/>
                  <c:y val="-1.2698412698412705E-2"/>
                </c:manualLayout>
              </c:layout>
              <c:showVal val="1"/>
            </c:dLbl>
            <c:dLbl>
              <c:idx val="4"/>
              <c:layout>
                <c:manualLayout>
                  <c:x val="2.150537634408603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2.2938842322129269E-2"/>
                  <c:y val="-1.5873015873015879E-2"/>
                </c:manualLayout>
              </c:layout>
              <c:showVal val="1"/>
            </c:dLbl>
            <c:dLbl>
              <c:idx val="6"/>
              <c:layout>
                <c:manualLayout>
                  <c:x val="7.1684587813620445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6.8719999999999999</c:v>
                </c:pt>
                <c:pt idx="1">
                  <c:v>19.922000000000001</c:v>
                </c:pt>
                <c:pt idx="2">
                  <c:v>37.673999999999999</c:v>
                </c:pt>
                <c:pt idx="3">
                  <c:v>19.869900000000001</c:v>
                </c:pt>
                <c:pt idx="4">
                  <c:v>16.0337</c:v>
                </c:pt>
                <c:pt idx="5">
                  <c:v>15.870200000000001</c:v>
                </c:pt>
                <c:pt idx="6">
                  <c:v>21.851500000000001</c:v>
                </c:pt>
              </c:numCache>
            </c:numRef>
          </c:val>
        </c:ser>
        <c:shape val="box"/>
        <c:axId val="167946496"/>
        <c:axId val="167964672"/>
        <c:axId val="0"/>
      </c:bar3DChart>
      <c:catAx>
        <c:axId val="16794649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7964672"/>
        <c:crosses val="autoZero"/>
        <c:auto val="1"/>
        <c:lblAlgn val="ctr"/>
        <c:lblOffset val="100"/>
      </c:catAx>
      <c:valAx>
        <c:axId val="167964672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16794649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61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57E-3"/>
                </c:manualLayout>
              </c:layout>
              <c:showVal val="1"/>
            </c:dLbl>
            <c:dLbl>
              <c:idx val="1"/>
              <c:layout>
                <c:manualLayout>
                  <c:x val="-1.4339175345017443E-3"/>
                  <c:y val="-6.3492063492063631E-3"/>
                </c:manualLayout>
              </c:layout>
              <c:showVal val="1"/>
            </c:dLbl>
            <c:dLbl>
              <c:idx val="2"/>
              <c:layout>
                <c:manualLayout>
                  <c:x val="-7.1684587813620557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3993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\ _₽_-;\-* #,##0\ _₽_-;_-* "-"??\ _₽_-;_-@_-</c:formatCode>
                <c:ptCount val="7"/>
                <c:pt idx="0">
                  <c:v>579.39</c:v>
                </c:pt>
                <c:pt idx="1">
                  <c:v>1015.01</c:v>
                </c:pt>
                <c:pt idx="2">
                  <c:v>1157.5</c:v>
                </c:pt>
                <c:pt idx="3">
                  <c:v>1010.3</c:v>
                </c:pt>
                <c:pt idx="4">
                  <c:v>983.17</c:v>
                </c:pt>
                <c:pt idx="5">
                  <c:v>816.4</c:v>
                </c:pt>
                <c:pt idx="6">
                  <c:v>931.7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6.349206349206357E-3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1.2698412698412705E-2"/>
                </c:manualLayout>
              </c:layout>
              <c:showVal val="1"/>
            </c:dLbl>
            <c:dLbl>
              <c:idx val="2"/>
              <c:layout>
                <c:manualLayout>
                  <c:x val="7.1683458922473424E-3"/>
                  <c:y val="-6.3492063492063527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1.433691756272398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088E-2"/>
                </c:manualLayout>
              </c:layout>
              <c:showVal val="1"/>
            </c:dLbl>
            <c:dLbl>
              <c:idx val="6"/>
              <c:layout>
                <c:manualLayout>
                  <c:x val="7.1684587813620557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\ _₽_-;\-* #,##0\ _₽_-;_-* "-"??\ _₽_-;_-@_-</c:formatCode>
                <c:ptCount val="7"/>
                <c:pt idx="0">
                  <c:v>970.69</c:v>
                </c:pt>
                <c:pt idx="1">
                  <c:v>1033.82</c:v>
                </c:pt>
                <c:pt idx="2">
                  <c:v>1215.3</c:v>
                </c:pt>
                <c:pt idx="3">
                  <c:v>984.09</c:v>
                </c:pt>
                <c:pt idx="4">
                  <c:v>1022</c:v>
                </c:pt>
                <c:pt idx="5">
                  <c:v>851.05</c:v>
                </c:pt>
                <c:pt idx="6">
                  <c:v>939.17</c:v>
                </c:pt>
              </c:numCache>
            </c:numRef>
          </c:val>
        </c:ser>
        <c:shape val="box"/>
        <c:axId val="179488256"/>
        <c:axId val="179489792"/>
        <c:axId val="0"/>
      </c:bar3DChart>
      <c:catAx>
        <c:axId val="17948825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9489792"/>
        <c:crosses val="autoZero"/>
        <c:auto val="1"/>
        <c:lblAlgn val="ctr"/>
        <c:lblOffset val="100"/>
      </c:catAx>
      <c:valAx>
        <c:axId val="179489792"/>
        <c:scaling>
          <c:orientation val="minMax"/>
        </c:scaling>
        <c:delete val="1"/>
        <c:axPos val="l"/>
        <c:majorGridlines/>
        <c:numFmt formatCode="_-* #,##0\ _₽_-;\-* #,##0\ _₽_-;_-* &quot;-&quot;??\ _₽_-;_-@_-" sourceLinked="1"/>
        <c:tickLblPos val="nextTo"/>
        <c:crossAx val="17948825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69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622E-3"/>
                </c:manualLayout>
              </c:layout>
              <c:showVal val="1"/>
            </c:dLbl>
            <c:dLbl>
              <c:idx val="1"/>
              <c:layout>
                <c:manualLayout>
                  <c:x val="-1.4339175345017469E-3"/>
                  <c:y val="-6.3492063492063692E-3"/>
                </c:manualLayout>
              </c:layout>
              <c:showVal val="1"/>
            </c:dLbl>
            <c:dLbl>
              <c:idx val="2"/>
              <c:layout>
                <c:manualLayout>
                  <c:x val="-7.1684587813620635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3982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0\ _₽_-;\-* #,##0.00\ _₽_-;_-* "-"??\ _₽_-;_-@_-</c:formatCode>
                <c:ptCount val="7"/>
                <c:pt idx="0">
                  <c:v>0.4</c:v>
                </c:pt>
                <c:pt idx="1">
                  <c:v>0.38</c:v>
                </c:pt>
                <c:pt idx="2">
                  <c:v>0.34</c:v>
                </c:pt>
                <c:pt idx="3">
                  <c:v>0.37</c:v>
                </c:pt>
                <c:pt idx="4">
                  <c:v>0.28000000000000003</c:v>
                </c:pt>
                <c:pt idx="5">
                  <c:v>0.38</c:v>
                </c:pt>
                <c:pt idx="6">
                  <c:v>0.4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6.3492063492063622E-3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1.2698412698412705E-2"/>
                </c:manualLayout>
              </c:layout>
              <c:showVal val="1"/>
            </c:dLbl>
            <c:dLbl>
              <c:idx val="2"/>
              <c:layout>
                <c:manualLayout>
                  <c:x val="7.1683458922473424E-3"/>
                  <c:y val="-6.349206349206357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1.4336917562723962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112E-2"/>
                </c:manualLayout>
              </c:layout>
              <c:showVal val="1"/>
            </c:dLbl>
            <c:dLbl>
              <c:idx val="6"/>
              <c:layout>
                <c:manualLayout>
                  <c:x val="7.1684587813620635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0\ _₽_-;\-* #,##0.00\ _₽_-;_-* "-"??\ _₽_-;_-@_-</c:formatCode>
                <c:ptCount val="7"/>
                <c:pt idx="0">
                  <c:v>0.28999999999999998</c:v>
                </c:pt>
                <c:pt idx="1">
                  <c:v>0.38</c:v>
                </c:pt>
                <c:pt idx="2">
                  <c:v>0.45</c:v>
                </c:pt>
                <c:pt idx="3">
                  <c:v>0.33</c:v>
                </c:pt>
                <c:pt idx="4">
                  <c:v>0.32</c:v>
                </c:pt>
                <c:pt idx="5">
                  <c:v>0.37</c:v>
                </c:pt>
                <c:pt idx="6">
                  <c:v>0.5</c:v>
                </c:pt>
              </c:numCache>
            </c:numRef>
          </c:val>
        </c:ser>
        <c:shape val="box"/>
        <c:axId val="197131264"/>
        <c:axId val="197403392"/>
        <c:axId val="0"/>
      </c:bar3DChart>
      <c:catAx>
        <c:axId val="19713126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2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97403392"/>
        <c:crosses val="autoZero"/>
        <c:auto val="1"/>
        <c:lblAlgn val="ctr"/>
        <c:lblOffset val="100"/>
      </c:catAx>
      <c:valAx>
        <c:axId val="197403392"/>
        <c:scaling>
          <c:orientation val="minMax"/>
        </c:scaling>
        <c:delete val="1"/>
        <c:axPos val="l"/>
        <c:majorGridlines/>
        <c:numFmt formatCode="_-* #,##0.00\ _₽_-;\-* #,##0.00\ _₽_-;_-* &quot;-&quot;??\ _₽_-;_-@_-" sourceLinked="1"/>
        <c:tickLblPos val="nextTo"/>
        <c:crossAx val="19713126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2"/>
      </a:pPr>
      <a:endParaRPr lang="ru-RU"/>
    </a:p>
  </c:txPr>
  <c:externalData r:id="rId1"/>
  <c:userShapes r:id="rId2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69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1.1469534050179211E-2"/>
                  <c:y val="-1.2698662667166604E-2"/>
                </c:manualLayout>
              </c:layout>
              <c:showVal val="1"/>
            </c:dLbl>
            <c:dLbl>
              <c:idx val="1"/>
              <c:layout>
                <c:manualLayout>
                  <c:x val="-1.4339175345017469E-3"/>
                  <c:y val="-6.34920634920637E-3"/>
                </c:manualLayout>
              </c:layout>
              <c:showVal val="1"/>
            </c:dLbl>
            <c:dLbl>
              <c:idx val="2"/>
              <c:layout>
                <c:manualLayout>
                  <c:x val="-7.1684587813620635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1.4336917562723982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21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0\ _₽_-;\-* #,##0.00\ _₽_-;_-* "-"??\ _₽_-;_-@_-</c:formatCode>
                <c:ptCount val="7"/>
                <c:pt idx="0">
                  <c:v>20.68</c:v>
                </c:pt>
                <c:pt idx="1">
                  <c:v>19.75</c:v>
                </c:pt>
                <c:pt idx="2">
                  <c:v>15.86</c:v>
                </c:pt>
                <c:pt idx="3">
                  <c:v>17.95</c:v>
                </c:pt>
                <c:pt idx="4">
                  <c:v>9.82</c:v>
                </c:pt>
                <c:pt idx="5">
                  <c:v>25.29</c:v>
                </c:pt>
                <c:pt idx="6">
                  <c:v>16.7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2E-2"/>
                  <c:y val="-6.3492063492063622E-3"/>
                </c:manualLayout>
              </c:layout>
              <c:showVal val="1"/>
            </c:dLbl>
            <c:dLbl>
              <c:idx val="1"/>
              <c:layout>
                <c:manualLayout>
                  <c:x val="1.1469534050179225E-2"/>
                  <c:y val="-1.2698412698412721E-2"/>
                </c:manualLayout>
              </c:layout>
              <c:showVal val="1"/>
            </c:dLbl>
            <c:dLbl>
              <c:idx val="2"/>
              <c:layout>
                <c:manualLayout>
                  <c:x val="1.4336691784494654E-2"/>
                  <c:y val="-1.5873015873015879E-2"/>
                </c:manualLayout>
              </c:layout>
              <c:showVal val="1"/>
            </c:dLbl>
            <c:dLbl>
              <c:idx val="3"/>
              <c:layout>
                <c:manualLayout>
                  <c:x val="1.0035842293906812E-2"/>
                  <c:y val="-1.5873015873015883E-2"/>
                </c:manualLayout>
              </c:layout>
              <c:showVal val="1"/>
            </c:dLbl>
            <c:dLbl>
              <c:idx val="4"/>
              <c:layout>
                <c:manualLayout>
                  <c:x val="1.4336917562723967E-2"/>
                  <c:y val="-1.5873015873015883E-2"/>
                </c:manualLayout>
              </c:layout>
              <c:showVal val="1"/>
            </c:dLbl>
            <c:dLbl>
              <c:idx val="5"/>
              <c:layout>
                <c:manualLayout>
                  <c:x val="1.4336691784494654E-2"/>
                  <c:y val="-1.9047619047619088E-2"/>
                </c:manualLayout>
              </c:layout>
              <c:showVal val="1"/>
            </c:dLbl>
            <c:dLbl>
              <c:idx val="6"/>
              <c:layout>
                <c:manualLayout>
                  <c:x val="1.7204188186154257E-2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0\ _₽_-;\-* #,##0.00\ _₽_-;_-* "-"??\ _₽_-;_-@_-</c:formatCode>
                <c:ptCount val="7"/>
                <c:pt idx="0">
                  <c:v>18.21</c:v>
                </c:pt>
                <c:pt idx="1">
                  <c:v>19.27</c:v>
                </c:pt>
                <c:pt idx="2">
                  <c:v>13.9</c:v>
                </c:pt>
                <c:pt idx="3">
                  <c:v>17</c:v>
                </c:pt>
                <c:pt idx="4">
                  <c:v>10.1</c:v>
                </c:pt>
                <c:pt idx="5">
                  <c:v>25.46</c:v>
                </c:pt>
                <c:pt idx="6">
                  <c:v>15.76</c:v>
                </c:pt>
              </c:numCache>
            </c:numRef>
          </c:val>
        </c:ser>
        <c:shape val="box"/>
        <c:axId val="197681920"/>
        <c:axId val="197683456"/>
        <c:axId val="0"/>
      </c:bar3DChart>
      <c:catAx>
        <c:axId val="19768192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2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97683456"/>
        <c:crosses val="autoZero"/>
        <c:auto val="1"/>
        <c:lblAlgn val="ctr"/>
        <c:lblOffset val="100"/>
      </c:catAx>
      <c:valAx>
        <c:axId val="197683456"/>
        <c:scaling>
          <c:orientation val="minMax"/>
        </c:scaling>
        <c:delete val="1"/>
        <c:axPos val="l"/>
        <c:majorGridlines/>
        <c:numFmt formatCode="_-* #,##0.00\ _₽_-;\-* #,##0.00\ _₽_-;_-* &quot;-&quot;??\ _₽_-;_-@_-" sourceLinked="1"/>
        <c:tickLblPos val="nextTo"/>
        <c:crossAx val="19768192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2"/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0"/>
          <c:w val="0.96845878136200658"/>
          <c:h val="0.79773954181653217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0"/>
                  <c:y val="-9.8765432098765812E-3"/>
                </c:manualLayout>
              </c:layout>
              <c:showVal val="1"/>
            </c:dLbl>
            <c:dLbl>
              <c:idx val="1"/>
              <c:layout>
                <c:manualLayout>
                  <c:x val="1.4336867389959744E-3"/>
                  <c:y val="-2.3045267489712033E-2"/>
                </c:manualLayout>
              </c:layout>
              <c:showVal val="1"/>
            </c:dLbl>
            <c:dLbl>
              <c:idx val="2"/>
              <c:layout>
                <c:manualLayout>
                  <c:x val="5.7347469559839073E-3"/>
                  <c:y val="-2.3045267489712033E-2"/>
                </c:manualLayout>
              </c:layout>
              <c:showVal val="1"/>
            </c:dLbl>
            <c:dLbl>
              <c:idx val="3"/>
              <c:layout>
                <c:manualLayout>
                  <c:x val="-1.4336867389959744E-3"/>
                  <c:y val="-1.9753086419753124E-2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8765432098765742E-3"/>
                </c:manualLayout>
              </c:layout>
              <c:showVal val="1"/>
            </c:dLbl>
            <c:dLbl>
              <c:idx val="5"/>
              <c:layout>
                <c:manualLayout>
                  <c:x val="1.4336867389959744E-3"/>
                  <c:y val="-6.5843621399177092E-3"/>
                </c:manualLayout>
              </c:layout>
              <c:showVal val="1"/>
            </c:dLbl>
            <c:dLbl>
              <c:idx val="6"/>
              <c:layout>
                <c:manualLayout>
                  <c:x val="2.8673734779919575E-3"/>
                  <c:y val="-2.9629629629629672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\ _₽_-;\-* #,##0\ _₽_-;_-* "-"??\ _₽_-;_-@_-</c:formatCode>
                <c:ptCount val="7"/>
                <c:pt idx="0">
                  <c:v>303</c:v>
                </c:pt>
                <c:pt idx="1">
                  <c:v>213.9</c:v>
                </c:pt>
                <c:pt idx="2">
                  <c:v>50</c:v>
                </c:pt>
                <c:pt idx="3">
                  <c:v>310</c:v>
                </c:pt>
                <c:pt idx="4">
                  <c:v>262</c:v>
                </c:pt>
                <c:pt idx="5">
                  <c:v>320.89999999999998</c:v>
                </c:pt>
                <c:pt idx="6">
                  <c:v>10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07172971801E-2"/>
                  <c:y val="-6.5843621399177092E-3"/>
                </c:manualLayout>
              </c:layout>
              <c:showVal val="1"/>
            </c:dLbl>
            <c:dLbl>
              <c:idx val="1"/>
              <c:layout>
                <c:manualLayout>
                  <c:x val="5.7347469559839073E-3"/>
                  <c:y val="-1.9753086419753117E-2"/>
                </c:manualLayout>
              </c:layout>
              <c:showVal val="1"/>
            </c:dLbl>
            <c:dLbl>
              <c:idx val="2"/>
              <c:layout>
                <c:manualLayout>
                  <c:x val="2.8673734779920091E-3"/>
                  <c:y val="-1.6460905349794271E-2"/>
                </c:manualLayout>
              </c:layout>
              <c:showVal val="1"/>
            </c:dLbl>
            <c:dLbl>
              <c:idx val="3"/>
              <c:layout>
                <c:manualLayout>
                  <c:x val="8.6021204339758496E-3"/>
                  <c:y val="-2.6337448559670854E-2"/>
                </c:manualLayout>
              </c:layout>
              <c:showVal val="1"/>
            </c:dLbl>
            <c:dLbl>
              <c:idx val="4"/>
              <c:layout>
                <c:manualLayout>
                  <c:x val="2.8673734779919575E-3"/>
                  <c:y val="-2.3045267489712033E-2"/>
                </c:manualLayout>
              </c:layout>
              <c:showVal val="1"/>
            </c:dLbl>
            <c:dLbl>
              <c:idx val="5"/>
              <c:layout>
                <c:manualLayout>
                  <c:x val="5.7347469559839073E-3"/>
                  <c:y val="-3.2921810699588529E-3"/>
                </c:manualLayout>
              </c:layout>
              <c:showVal val="1"/>
            </c:dLbl>
            <c:dLbl>
              <c:idx val="6"/>
              <c:layout>
                <c:manualLayout>
                  <c:x val="7.1684336949798828E-3"/>
                  <c:y val="-2.6337448559670854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\ _₽_-;\-* #,##0\ _₽_-;_-* "-"??\ _₽_-;_-@_-</c:formatCode>
                <c:ptCount val="7"/>
                <c:pt idx="0">
                  <c:v>374</c:v>
                </c:pt>
                <c:pt idx="1">
                  <c:v>216</c:v>
                </c:pt>
                <c:pt idx="2">
                  <c:v>45</c:v>
                </c:pt>
                <c:pt idx="3">
                  <c:v>343</c:v>
                </c:pt>
                <c:pt idx="4">
                  <c:v>270</c:v>
                </c:pt>
                <c:pt idx="5">
                  <c:v>333</c:v>
                </c:pt>
                <c:pt idx="6">
                  <c:v>101</c:v>
                </c:pt>
              </c:numCache>
            </c:numRef>
          </c:val>
        </c:ser>
        <c:shape val="box"/>
        <c:axId val="134456832"/>
        <c:axId val="134661632"/>
        <c:axId val="0"/>
      </c:bar3DChart>
      <c:catAx>
        <c:axId val="13445683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6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34661632"/>
        <c:crosses val="autoZero"/>
        <c:auto val="1"/>
        <c:lblAlgn val="ctr"/>
        <c:lblOffset val="100"/>
      </c:catAx>
      <c:valAx>
        <c:axId val="134661632"/>
        <c:scaling>
          <c:orientation val="minMax"/>
        </c:scaling>
        <c:delete val="1"/>
        <c:axPos val="l"/>
        <c:majorGridlines/>
        <c:numFmt formatCode="_-* #,##0\ _₽_-;\-* #,##0\ _₽_-;_-* &quot;-&quot;??\ _₽_-;_-@_-" sourceLinked="1"/>
        <c:tickLblPos val="nextTo"/>
        <c:crossAx val="13445683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6"/>
      </a:pPr>
      <a:endParaRPr lang="ru-RU"/>
    </a:p>
  </c:txPr>
  <c:externalData r:id="rId1"/>
  <c:userShapes r:id="rId2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68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605E-3"/>
                </c:manualLayout>
              </c:layout>
              <c:showVal val="1"/>
            </c:dLbl>
            <c:dLbl>
              <c:idx val="1"/>
              <c:layout>
                <c:manualLayout>
                  <c:x val="-1.4339175345017465E-3"/>
                  <c:y val="-6.3492063492063692E-3"/>
                </c:manualLayout>
              </c:layout>
              <c:showVal val="1"/>
            </c:dLbl>
            <c:dLbl>
              <c:idx val="2"/>
              <c:layout>
                <c:manualLayout>
                  <c:x val="-7.1684587813620618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-7.1684587813620158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21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0\ _₽_-;\-* #,##0.00\ _₽_-;_-* "-"??\ _₽_-;_-@_-</c:formatCode>
                <c:ptCount val="7"/>
                <c:pt idx="0">
                  <c:v>29.46</c:v>
                </c:pt>
                <c:pt idx="1">
                  <c:v>28.89</c:v>
                </c:pt>
                <c:pt idx="2">
                  <c:v>30.2</c:v>
                </c:pt>
                <c:pt idx="3">
                  <c:v>25.06</c:v>
                </c:pt>
                <c:pt idx="4">
                  <c:v>27.64</c:v>
                </c:pt>
                <c:pt idx="5">
                  <c:v>39.65</c:v>
                </c:pt>
                <c:pt idx="6">
                  <c:v>2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2.2939068100358451E-2"/>
                  <c:y val="-9.5238095238095247E-3"/>
                </c:manualLayout>
              </c:layout>
              <c:showVal val="1"/>
            </c:dLbl>
            <c:dLbl>
              <c:idx val="1"/>
              <c:layout>
                <c:manualLayout>
                  <c:x val="1.1469534050179225E-2"/>
                  <c:y val="-1.2698412698412721E-2"/>
                </c:manualLayout>
              </c:layout>
              <c:showVal val="1"/>
            </c:dLbl>
            <c:dLbl>
              <c:idx val="2"/>
              <c:layout>
                <c:manualLayout>
                  <c:x val="7.1683458922473433E-3"/>
                  <c:y val="-6.3492063492063561E-3"/>
                </c:manualLayout>
              </c:layout>
              <c:showVal val="1"/>
            </c:dLbl>
            <c:dLbl>
              <c:idx val="3"/>
              <c:layout>
                <c:manualLayout>
                  <c:x val="1.0035842293906812E-2"/>
                  <c:y val="-1.5873015873015883E-2"/>
                </c:manualLayout>
              </c:layout>
              <c:showVal val="1"/>
            </c:dLbl>
            <c:dLbl>
              <c:idx val="4"/>
              <c:layout>
                <c:manualLayout>
                  <c:x val="1.4336917562723971E-2"/>
                  <c:y val="-1.5873015873015883E-2"/>
                </c:manualLayout>
              </c:layout>
              <c:showVal val="1"/>
            </c:dLbl>
            <c:dLbl>
              <c:idx val="5"/>
              <c:layout>
                <c:manualLayout>
                  <c:x val="2.2938842322129158E-2"/>
                  <c:y val="-1.5873015873015879E-2"/>
                </c:manualLayout>
              </c:layout>
              <c:showVal val="1"/>
            </c:dLbl>
            <c:dLbl>
              <c:idx val="6"/>
              <c:layout>
                <c:manualLayout>
                  <c:x val="1.7204188186154257E-2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0\ _₽_-;\-* #,##0.00\ _₽_-;_-* "-"??\ _₽_-;_-@_-</c:formatCode>
                <c:ptCount val="7"/>
                <c:pt idx="0">
                  <c:v>28.23</c:v>
                </c:pt>
                <c:pt idx="1">
                  <c:v>29.71</c:v>
                </c:pt>
                <c:pt idx="2">
                  <c:v>28.35</c:v>
                </c:pt>
                <c:pt idx="3">
                  <c:v>24.32</c:v>
                </c:pt>
                <c:pt idx="4">
                  <c:v>30.9</c:v>
                </c:pt>
                <c:pt idx="5">
                  <c:v>39.01</c:v>
                </c:pt>
                <c:pt idx="6">
                  <c:v>13.87</c:v>
                </c:pt>
              </c:numCache>
            </c:numRef>
          </c:val>
        </c:ser>
        <c:shape val="box"/>
        <c:axId val="197744896"/>
        <c:axId val="197758976"/>
        <c:axId val="0"/>
      </c:bar3DChart>
      <c:catAx>
        <c:axId val="19774489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97758976"/>
        <c:crosses val="autoZero"/>
        <c:auto val="1"/>
        <c:lblAlgn val="ctr"/>
        <c:lblOffset val="100"/>
      </c:catAx>
      <c:valAx>
        <c:axId val="197758976"/>
        <c:scaling>
          <c:orientation val="minMax"/>
        </c:scaling>
        <c:delete val="1"/>
        <c:axPos val="l"/>
        <c:majorGridlines/>
        <c:numFmt formatCode="_-* #,##0.00\ _₽_-;\-* #,##0.00\ _₽_-;_-* &quot;-&quot;??\ _₽_-;_-@_-" sourceLinked="1"/>
        <c:tickLblPos val="nextTo"/>
        <c:crossAx val="19774489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61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57E-3"/>
                </c:manualLayout>
              </c:layout>
              <c:showVal val="1"/>
            </c:dLbl>
            <c:dLbl>
              <c:idx val="1"/>
              <c:layout>
                <c:manualLayout>
                  <c:x val="-1.4339175345017443E-3"/>
                  <c:y val="-6.3492063492063631E-3"/>
                </c:manualLayout>
              </c:layout>
              <c:showVal val="1"/>
            </c:dLbl>
            <c:dLbl>
              <c:idx val="2"/>
              <c:layout>
                <c:manualLayout>
                  <c:x val="-7.1684587813620557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3993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\ _₽_-;\-* #,##0\ _₽_-;_-* "-"??\ _₽_-;_-@_-</c:formatCode>
                <c:ptCount val="7"/>
                <c:pt idx="0">
                  <c:v>156.77000000000001</c:v>
                </c:pt>
                <c:pt idx="1">
                  <c:v>150.66999999999999</c:v>
                </c:pt>
                <c:pt idx="2">
                  <c:v>370</c:v>
                </c:pt>
                <c:pt idx="3">
                  <c:v>161.18</c:v>
                </c:pt>
                <c:pt idx="4">
                  <c:v>188.33</c:v>
                </c:pt>
                <c:pt idx="5">
                  <c:v>260.89</c:v>
                </c:pt>
                <c:pt idx="6">
                  <c:v>591.8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6.349206349206357E-3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1.2698412698412705E-2"/>
                </c:manualLayout>
              </c:layout>
              <c:showVal val="1"/>
            </c:dLbl>
            <c:dLbl>
              <c:idx val="2"/>
              <c:layout>
                <c:manualLayout>
                  <c:x val="7.1683458922473424E-3"/>
                  <c:y val="-6.3492063492063527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1.433691756272398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088E-2"/>
                </c:manualLayout>
              </c:layout>
              <c:showVal val="1"/>
            </c:dLbl>
            <c:dLbl>
              <c:idx val="6"/>
              <c:layout>
                <c:manualLayout>
                  <c:x val="7.1684587813620557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\ _₽_-;\-* #,##0\ _₽_-;_-* "-"??\ _₽_-;_-@_-</c:formatCode>
                <c:ptCount val="7"/>
                <c:pt idx="0">
                  <c:v>122.5</c:v>
                </c:pt>
                <c:pt idx="1">
                  <c:v>147.6</c:v>
                </c:pt>
                <c:pt idx="2">
                  <c:v>459.49</c:v>
                </c:pt>
                <c:pt idx="3">
                  <c:v>152.69</c:v>
                </c:pt>
                <c:pt idx="4">
                  <c:v>186.4</c:v>
                </c:pt>
                <c:pt idx="5">
                  <c:v>262.10000000000002</c:v>
                </c:pt>
                <c:pt idx="6">
                  <c:v>507.63</c:v>
                </c:pt>
              </c:numCache>
            </c:numRef>
          </c:val>
        </c:ser>
        <c:shape val="box"/>
        <c:axId val="197865472"/>
        <c:axId val="197867008"/>
        <c:axId val="0"/>
      </c:bar3DChart>
      <c:catAx>
        <c:axId val="19786547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97867008"/>
        <c:crosses val="autoZero"/>
        <c:auto val="1"/>
        <c:lblAlgn val="ctr"/>
        <c:lblOffset val="100"/>
      </c:catAx>
      <c:valAx>
        <c:axId val="197867008"/>
        <c:scaling>
          <c:orientation val="minMax"/>
        </c:scaling>
        <c:delete val="1"/>
        <c:axPos val="l"/>
        <c:majorGridlines/>
        <c:numFmt formatCode="_-* #,##0\ _₽_-;\-* #,##0\ _₽_-;_-* &quot;-&quot;??\ _₽_-;_-@_-" sourceLinked="1"/>
        <c:tickLblPos val="nextTo"/>
        <c:crossAx val="19786547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64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587E-3"/>
                </c:manualLayout>
              </c:layout>
              <c:showVal val="1"/>
            </c:dLbl>
            <c:dLbl>
              <c:idx val="1"/>
              <c:layout>
                <c:manualLayout>
                  <c:x val="-1.4339175345017454E-3"/>
                  <c:y val="-6.3492063492063648E-3"/>
                </c:manualLayout>
              </c:layout>
              <c:showVal val="1"/>
            </c:dLbl>
            <c:dLbl>
              <c:idx val="2"/>
              <c:layout>
                <c:manualLayout>
                  <c:x val="-7.1684587813620592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3988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0\ _₽_-;\-* #,##0.00\ _₽_-;_-* "-"??\ _₽_-;_-@_-</c:formatCode>
                <c:ptCount val="7"/>
                <c:pt idx="0">
                  <c:v>0.26</c:v>
                </c:pt>
                <c:pt idx="1">
                  <c:v>0.32</c:v>
                </c:pt>
                <c:pt idx="2">
                  <c:v>0.43</c:v>
                </c:pt>
                <c:pt idx="3">
                  <c:v>0.72</c:v>
                </c:pt>
                <c:pt idx="4">
                  <c:v>0.22</c:v>
                </c:pt>
                <c:pt idx="5">
                  <c:v>0.28000000000000003</c:v>
                </c:pt>
                <c:pt idx="6">
                  <c:v>0.5500000000000000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6.3492063492063587E-3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1.2698412698412705E-2"/>
                </c:manualLayout>
              </c:layout>
              <c:showVal val="1"/>
            </c:dLbl>
            <c:dLbl>
              <c:idx val="2"/>
              <c:layout>
                <c:manualLayout>
                  <c:x val="7.1683458922473424E-3"/>
                  <c:y val="-6.3492063492063544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1.4336917562723974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101E-2"/>
                </c:manualLayout>
              </c:layout>
              <c:showVal val="1"/>
            </c:dLbl>
            <c:dLbl>
              <c:idx val="6"/>
              <c:layout>
                <c:manualLayout>
                  <c:x val="7.1684587813620592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0\ _₽_-;\-* #,##0.00\ _₽_-;_-* "-"??\ _₽_-;_-@_-</c:formatCode>
                <c:ptCount val="7"/>
                <c:pt idx="0">
                  <c:v>0.26</c:v>
                </c:pt>
                <c:pt idx="1">
                  <c:v>0.26</c:v>
                </c:pt>
                <c:pt idx="2">
                  <c:v>0.26</c:v>
                </c:pt>
                <c:pt idx="3">
                  <c:v>0.28999999999999998</c:v>
                </c:pt>
                <c:pt idx="4">
                  <c:v>0.21</c:v>
                </c:pt>
                <c:pt idx="5">
                  <c:v>1.4</c:v>
                </c:pt>
                <c:pt idx="6">
                  <c:v>0.56999999999999995</c:v>
                </c:pt>
              </c:numCache>
            </c:numRef>
          </c:val>
        </c:ser>
        <c:shape val="box"/>
        <c:axId val="198391296"/>
        <c:axId val="198392832"/>
        <c:axId val="0"/>
      </c:bar3DChart>
      <c:catAx>
        <c:axId val="19839129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98392832"/>
        <c:crosses val="autoZero"/>
        <c:auto val="1"/>
        <c:lblAlgn val="ctr"/>
        <c:lblOffset val="100"/>
      </c:catAx>
      <c:valAx>
        <c:axId val="198392832"/>
        <c:scaling>
          <c:orientation val="minMax"/>
        </c:scaling>
        <c:delete val="1"/>
        <c:axPos val="l"/>
        <c:majorGridlines/>
        <c:numFmt formatCode="_-* #,##0.00\ _₽_-;\-* #,##0.00\ _₽_-;_-* &quot;-&quot;??\ _₽_-;_-@_-" sourceLinked="1"/>
        <c:tickLblPos val="nextTo"/>
        <c:crossAx val="19839129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71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639E-3"/>
                </c:manualLayout>
              </c:layout>
              <c:showVal val="1"/>
            </c:dLbl>
            <c:dLbl>
              <c:idx val="1"/>
              <c:layout>
                <c:manualLayout>
                  <c:x val="-1.433917534501748E-3"/>
                  <c:y val="-6.3492063492063718E-3"/>
                </c:manualLayout>
              </c:layout>
              <c:showVal val="1"/>
            </c:dLbl>
            <c:dLbl>
              <c:idx val="2"/>
              <c:layout>
                <c:manualLayout>
                  <c:x val="-7.168458781362067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1.4336917562723977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21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0\ _₽_-;\-* #,##0.00\ _₽_-;_-* "-"??\ _₽_-;_-@_-</c:formatCode>
                <c:ptCount val="7"/>
                <c:pt idx="0">
                  <c:v>0.57999999999999996</c:v>
                </c:pt>
                <c:pt idx="1">
                  <c:v>1.0900000000000001</c:v>
                </c:pt>
                <c:pt idx="2">
                  <c:v>7.9</c:v>
                </c:pt>
                <c:pt idx="3">
                  <c:v>0.85</c:v>
                </c:pt>
                <c:pt idx="4">
                  <c:v>0.74</c:v>
                </c:pt>
                <c:pt idx="5">
                  <c:v>6.34</c:v>
                </c:pt>
                <c:pt idx="6">
                  <c:v>5.9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2E-2"/>
                  <c:y val="-6.3492063492063639E-3"/>
                </c:manualLayout>
              </c:layout>
              <c:showVal val="1"/>
            </c:dLbl>
            <c:dLbl>
              <c:idx val="1"/>
              <c:layout>
                <c:manualLayout>
                  <c:x val="1.1469534050179225E-2"/>
                  <c:y val="-1.2698412698412721E-2"/>
                </c:manualLayout>
              </c:layout>
              <c:showVal val="1"/>
            </c:dLbl>
            <c:dLbl>
              <c:idx val="2"/>
              <c:layout>
                <c:manualLayout>
                  <c:x val="7.1683458922473433E-3"/>
                  <c:y val="-6.3492063492063587E-3"/>
                </c:manualLayout>
              </c:layout>
              <c:showVal val="1"/>
            </c:dLbl>
            <c:dLbl>
              <c:idx val="3"/>
              <c:layout>
                <c:manualLayout>
                  <c:x val="1.0035842293906812E-2"/>
                  <c:y val="-1.5873015873015883E-2"/>
                </c:manualLayout>
              </c:layout>
              <c:showVal val="1"/>
            </c:dLbl>
            <c:dLbl>
              <c:idx val="4"/>
              <c:layout>
                <c:manualLayout>
                  <c:x val="1.4336917562723959E-2"/>
                  <c:y val="-1.5873015873015883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126E-2"/>
                </c:manualLayout>
              </c:layout>
              <c:showVal val="1"/>
            </c:dLbl>
            <c:dLbl>
              <c:idx val="6"/>
              <c:layout>
                <c:manualLayout>
                  <c:x val="7.168458781362067E-3"/>
                  <c:y val="-9.5238071431553214E-3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0\ _₽_-;\-* #,##0.00\ _₽_-;_-* "-"??\ _₽_-;_-@_-</c:formatCode>
                <c:ptCount val="7"/>
                <c:pt idx="0">
                  <c:v>0.7</c:v>
                </c:pt>
                <c:pt idx="1">
                  <c:v>0.88</c:v>
                </c:pt>
                <c:pt idx="2">
                  <c:v>7</c:v>
                </c:pt>
                <c:pt idx="3">
                  <c:v>0.76</c:v>
                </c:pt>
                <c:pt idx="4">
                  <c:v>0.56000000000000005</c:v>
                </c:pt>
                <c:pt idx="5">
                  <c:v>1.59</c:v>
                </c:pt>
                <c:pt idx="6">
                  <c:v>3.49</c:v>
                </c:pt>
              </c:numCache>
            </c:numRef>
          </c:val>
        </c:ser>
        <c:shape val="box"/>
        <c:axId val="198437888"/>
        <c:axId val="198591232"/>
        <c:axId val="0"/>
      </c:bar3DChart>
      <c:catAx>
        <c:axId val="19843788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2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98591232"/>
        <c:crosses val="autoZero"/>
        <c:auto val="1"/>
        <c:lblAlgn val="ctr"/>
        <c:lblOffset val="100"/>
      </c:catAx>
      <c:valAx>
        <c:axId val="198591232"/>
        <c:scaling>
          <c:orientation val="minMax"/>
        </c:scaling>
        <c:delete val="1"/>
        <c:axPos val="l"/>
        <c:majorGridlines/>
        <c:numFmt formatCode="_-* #,##0.00\ _₽_-;\-* #,##0.00\ _₽_-;_-* &quot;-&quot;??\ _₽_-;_-@_-" sourceLinked="1"/>
        <c:tickLblPos val="nextTo"/>
        <c:crossAx val="19843788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2"/>
      </a:pPr>
      <a:endParaRPr lang="ru-RU"/>
    </a:p>
  </c:txPr>
  <c:externalData r:id="rId1"/>
  <c:userShapes r:id="rId2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70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631E-3"/>
                </c:manualLayout>
              </c:layout>
              <c:showVal val="1"/>
            </c:dLbl>
            <c:dLbl>
              <c:idx val="1"/>
              <c:layout>
                <c:manualLayout>
                  <c:x val="-1.4339175345017474E-3"/>
                  <c:y val="-6.3492063492063709E-3"/>
                </c:manualLayout>
              </c:layout>
              <c:showVal val="1"/>
            </c:dLbl>
            <c:dLbl>
              <c:idx val="2"/>
              <c:layout>
                <c:manualLayout>
                  <c:x val="-7.1684587813620653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-7.1684587813620193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21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0\ _₽_-;\-* #,##0.00\ _₽_-;_-* "-"??\ _₽_-;_-@_-</c:formatCode>
                <c:ptCount val="7"/>
                <c:pt idx="0">
                  <c:v>1</c:v>
                </c:pt>
                <c:pt idx="1">
                  <c:v>1.53</c:v>
                </c:pt>
                <c:pt idx="2">
                  <c:v>14</c:v>
                </c:pt>
                <c:pt idx="3">
                  <c:v>0.86</c:v>
                </c:pt>
                <c:pt idx="4">
                  <c:v>1.7</c:v>
                </c:pt>
                <c:pt idx="5">
                  <c:v>4.9400000000000004</c:v>
                </c:pt>
                <c:pt idx="6">
                  <c:v>4.190000000000000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2.2939068100358451E-2"/>
                  <c:y val="-9.5238095238095247E-3"/>
                </c:manualLayout>
              </c:layout>
              <c:showVal val="1"/>
            </c:dLbl>
            <c:dLbl>
              <c:idx val="1"/>
              <c:layout>
                <c:manualLayout>
                  <c:x val="1.1469534050179225E-2"/>
                  <c:y val="-1.2698412698412721E-2"/>
                </c:manualLayout>
              </c:layout>
              <c:showVal val="1"/>
            </c:dLbl>
            <c:dLbl>
              <c:idx val="2"/>
              <c:layout>
                <c:manualLayout>
                  <c:x val="7.1683458922473433E-3"/>
                  <c:y val="-6.3492063492063579E-3"/>
                </c:manualLayout>
              </c:layout>
              <c:showVal val="1"/>
            </c:dLbl>
            <c:dLbl>
              <c:idx val="3"/>
              <c:layout>
                <c:manualLayout>
                  <c:x val="1.0035842293906812E-2"/>
                  <c:y val="-1.5873015873015883E-2"/>
                </c:manualLayout>
              </c:layout>
              <c:showVal val="1"/>
            </c:dLbl>
            <c:dLbl>
              <c:idx val="4"/>
              <c:layout>
                <c:manualLayout>
                  <c:x val="1.4336917562723962E-2"/>
                  <c:y val="-1.5873015873015883E-2"/>
                </c:manualLayout>
              </c:layout>
              <c:showVal val="1"/>
            </c:dLbl>
            <c:dLbl>
              <c:idx val="5"/>
              <c:layout>
                <c:manualLayout>
                  <c:x val="1.5770383540767104E-2"/>
                  <c:y val="-1.5873015873015879E-2"/>
                </c:manualLayout>
              </c:layout>
              <c:showVal val="1"/>
            </c:dLbl>
            <c:dLbl>
              <c:idx val="6"/>
              <c:layout>
                <c:manualLayout>
                  <c:x val="1.7204188186154257E-2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0\ _₽_-;\-* #,##0.00\ _₽_-;_-* "-"??\ _₽_-;_-@_-</c:formatCode>
                <c:ptCount val="7"/>
                <c:pt idx="0">
                  <c:v>0.98</c:v>
                </c:pt>
                <c:pt idx="1">
                  <c:v>1.47</c:v>
                </c:pt>
                <c:pt idx="2">
                  <c:v>20.079999999999998</c:v>
                </c:pt>
                <c:pt idx="3">
                  <c:v>0.75</c:v>
                </c:pt>
                <c:pt idx="4">
                  <c:v>1.4</c:v>
                </c:pt>
                <c:pt idx="5">
                  <c:v>3.35</c:v>
                </c:pt>
                <c:pt idx="6">
                  <c:v>2.36</c:v>
                </c:pt>
              </c:numCache>
            </c:numRef>
          </c:val>
        </c:ser>
        <c:shape val="box"/>
        <c:axId val="200454912"/>
        <c:axId val="200456448"/>
        <c:axId val="0"/>
      </c:bar3DChart>
      <c:catAx>
        <c:axId val="20045491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00456448"/>
        <c:crosses val="autoZero"/>
        <c:auto val="1"/>
        <c:lblAlgn val="ctr"/>
        <c:lblOffset val="100"/>
      </c:catAx>
      <c:valAx>
        <c:axId val="200456448"/>
        <c:scaling>
          <c:orientation val="minMax"/>
        </c:scaling>
        <c:delete val="1"/>
        <c:axPos val="l"/>
        <c:majorGridlines/>
        <c:numFmt formatCode="_-* #,##0.00\ _₽_-;\-* #,##0.00\ _₽_-;_-* &quot;-&quot;??\ _₽_-;_-@_-" sourceLinked="1"/>
        <c:tickLblPos val="nextTo"/>
        <c:crossAx val="20045491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0"/>
          <c:w val="0.96845878136200658"/>
          <c:h val="0.7977942386831290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1.4336867389959746E-3"/>
                  <c:y val="-9.8765432098765604E-3"/>
                </c:manualLayout>
              </c:layout>
              <c:showVal val="1"/>
            </c:dLbl>
            <c:dLbl>
              <c:idx val="1"/>
              <c:layout>
                <c:manualLayout>
                  <c:x val="7.1684336949799097E-3"/>
                  <c:y val="-9.8765432098765794E-3"/>
                </c:manualLayout>
              </c:layout>
              <c:showVal val="1"/>
            </c:dLbl>
            <c:dLbl>
              <c:idx val="2"/>
              <c:layout>
                <c:manualLayout>
                  <c:x val="-2.8673734779919619E-3"/>
                  <c:y val="-1.6460905349794282E-2"/>
                </c:manualLayout>
              </c:layout>
              <c:showVal val="1"/>
            </c:dLbl>
            <c:dLbl>
              <c:idx val="3"/>
              <c:layout>
                <c:manualLayout>
                  <c:x val="-2.8673734779919619E-3"/>
                  <c:y val="-9.8765432098765604E-3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8765432098765794E-3"/>
                </c:manualLayout>
              </c:layout>
              <c:showVal val="1"/>
            </c:dLbl>
            <c:dLbl>
              <c:idx val="5"/>
              <c:layout>
                <c:manualLayout>
                  <c:x val="0"/>
                  <c:y val="-6.5843621399177118E-3"/>
                </c:manualLayout>
              </c:layout>
              <c:showVal val="1"/>
            </c:dLbl>
            <c:dLbl>
              <c:idx val="6"/>
              <c:layout>
                <c:manualLayout>
                  <c:x val="-1.4336867389959746E-3"/>
                  <c:y val="-9.8765432098765794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%</c:formatCode>
                <c:ptCount val="7"/>
                <c:pt idx="0">
                  <c:v>0.129</c:v>
                </c:pt>
                <c:pt idx="1">
                  <c:v>0.17199999999999999</c:v>
                </c:pt>
                <c:pt idx="2">
                  <c:v>7.0999999999999994E-2</c:v>
                </c:pt>
                <c:pt idx="3">
                  <c:v>0.16200000000000001</c:v>
                </c:pt>
                <c:pt idx="4">
                  <c:v>0.13900000000000001</c:v>
                </c:pt>
                <c:pt idx="5">
                  <c:v>0.11700000000000001</c:v>
                </c:pt>
                <c:pt idx="6">
                  <c:v>5.2999999999999999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07172971792E-2"/>
                  <c:y val="-9.8765432098765604E-3"/>
                </c:manualLayout>
              </c:layout>
              <c:showVal val="1"/>
            </c:dLbl>
            <c:dLbl>
              <c:idx val="1"/>
              <c:layout>
                <c:manualLayout>
                  <c:x val="2.0071614345943681E-2"/>
                  <c:y val="-9.8765432098765794E-3"/>
                </c:manualLayout>
              </c:layout>
              <c:showVal val="1"/>
            </c:dLbl>
            <c:dLbl>
              <c:idx val="2"/>
              <c:layout>
                <c:manualLayout>
                  <c:x val="8.6021204339757958E-3"/>
                  <c:y val="-6.5843621399177118E-3"/>
                </c:manualLayout>
              </c:layout>
              <c:showVal val="1"/>
            </c:dLbl>
            <c:dLbl>
              <c:idx val="3"/>
              <c:layout>
                <c:manualLayout>
                  <c:x val="1.7204301075268817E-2"/>
                  <c:y val="-1.9753086419753086E-2"/>
                </c:manualLayout>
              </c:layout>
              <c:showVal val="1"/>
            </c:dLbl>
            <c:dLbl>
              <c:idx val="4"/>
              <c:layout>
                <c:manualLayout>
                  <c:x val="1.8637927606947685E-2"/>
                  <c:y val="-3.292181069958855E-3"/>
                </c:manualLayout>
              </c:layout>
              <c:showVal val="1"/>
            </c:dLbl>
            <c:dLbl>
              <c:idx val="5"/>
              <c:layout>
                <c:manualLayout>
                  <c:x val="2.2938955211243773E-2"/>
                  <c:y val="-3.2921810699588494E-3"/>
                </c:manualLayout>
              </c:layout>
              <c:showVal val="1"/>
            </c:dLbl>
            <c:dLbl>
              <c:idx val="6"/>
              <c:layout>
                <c:manualLayout>
                  <c:x val="1.0035807172971792E-2"/>
                  <c:y val="-9.8765432098765794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%</c:formatCode>
                <c:ptCount val="7"/>
                <c:pt idx="0">
                  <c:v>0.129</c:v>
                </c:pt>
                <c:pt idx="1">
                  <c:v>0.17199999999999999</c:v>
                </c:pt>
                <c:pt idx="2">
                  <c:v>7.1999999999999995E-2</c:v>
                </c:pt>
                <c:pt idx="3">
                  <c:v>0.153</c:v>
                </c:pt>
                <c:pt idx="4">
                  <c:v>0.14000000000000001</c:v>
                </c:pt>
                <c:pt idx="5">
                  <c:v>0.11700000000000001</c:v>
                </c:pt>
                <c:pt idx="6">
                  <c:v>5.2999999999999999E-2</c:v>
                </c:pt>
              </c:numCache>
            </c:numRef>
          </c:val>
        </c:ser>
        <c:shape val="box"/>
        <c:axId val="53891072"/>
        <c:axId val="53925376"/>
        <c:axId val="0"/>
      </c:bar3DChart>
      <c:catAx>
        <c:axId val="5389107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53925376"/>
        <c:crosses val="autoZero"/>
        <c:auto val="1"/>
        <c:lblAlgn val="ctr"/>
        <c:lblOffset val="100"/>
      </c:catAx>
      <c:valAx>
        <c:axId val="53925376"/>
        <c:scaling>
          <c:orientation val="minMax"/>
        </c:scaling>
        <c:delete val="1"/>
        <c:axPos val="l"/>
        <c:majorGridlines/>
        <c:numFmt formatCode="0.0%" sourceLinked="1"/>
        <c:tickLblPos val="nextTo"/>
        <c:crossAx val="5389107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1.9753086419753107E-2"/>
          <c:w val="0.96845878136200658"/>
          <c:h val="0.7780411522633764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1.290322580645162E-2"/>
                  <c:y val="-1.6460905349794261E-2"/>
                </c:manualLayout>
              </c:layout>
              <c:showVal val="1"/>
            </c:dLbl>
            <c:dLbl>
              <c:idx val="1"/>
              <c:layout>
                <c:manualLayout>
                  <c:x val="-1.4336917562724002E-2"/>
                  <c:y val="-1.9753086419753096E-2"/>
                </c:manualLayout>
              </c:layout>
              <c:showVal val="1"/>
            </c:dLbl>
            <c:dLbl>
              <c:idx val="2"/>
              <c:layout>
                <c:manualLayout>
                  <c:x val="-2.867373477991964E-3"/>
                  <c:y val="-1.6460905349794289E-2"/>
                </c:manualLayout>
              </c:layout>
              <c:showVal val="1"/>
            </c:dLbl>
            <c:dLbl>
              <c:idx val="3"/>
              <c:layout>
                <c:manualLayout>
                  <c:x val="-2.0071684587813669E-2"/>
                  <c:y val="-9.8768024367325239E-3"/>
                </c:manualLayout>
              </c:layout>
              <c:showVal val="1"/>
            </c:dLbl>
            <c:dLbl>
              <c:idx val="4"/>
              <c:layout>
                <c:manualLayout>
                  <c:x val="-1.7204301075268821E-2"/>
                  <c:y val="-6.584362139917704E-3"/>
                </c:manualLayout>
              </c:layout>
              <c:showVal val="1"/>
            </c:dLbl>
            <c:dLbl>
              <c:idx val="5"/>
              <c:layout>
                <c:manualLayout>
                  <c:x val="-2.150537634408603E-2"/>
                  <c:y val="-9.8765432098765673E-3"/>
                </c:manualLayout>
              </c:layout>
              <c:showVal val="1"/>
            </c:dLbl>
            <c:dLbl>
              <c:idx val="6"/>
              <c:layout>
                <c:manualLayout>
                  <c:x val="-1.4336867389959746E-3"/>
                  <c:y val="-9.876543209876584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</c:formatCode>
                <c:ptCount val="7"/>
                <c:pt idx="0">
                  <c:v>606204</c:v>
                </c:pt>
                <c:pt idx="1">
                  <c:v>111619</c:v>
                </c:pt>
                <c:pt idx="2">
                  <c:v>3710</c:v>
                </c:pt>
                <c:pt idx="3">
                  <c:v>294507</c:v>
                </c:pt>
                <c:pt idx="4">
                  <c:v>248920</c:v>
                </c:pt>
                <c:pt idx="5">
                  <c:v>691153</c:v>
                </c:pt>
                <c:pt idx="6">
                  <c:v>9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07172971789E-2"/>
                  <c:y val="-9.8765432098765673E-3"/>
                </c:manualLayout>
              </c:layout>
              <c:showVal val="1"/>
            </c:dLbl>
            <c:dLbl>
              <c:idx val="1"/>
              <c:layout>
                <c:manualLayout>
                  <c:x val="2.0071614345943681E-2"/>
                  <c:y val="-9.8765432098765846E-3"/>
                </c:manualLayout>
              </c:layout>
              <c:showVal val="1"/>
            </c:dLbl>
            <c:dLbl>
              <c:idx val="2"/>
              <c:layout>
                <c:manualLayout>
                  <c:x val="8.6021204339757958E-3"/>
                  <c:y val="-6.5843621399177136E-3"/>
                </c:manualLayout>
              </c:layout>
              <c:showVal val="1"/>
            </c:dLbl>
            <c:dLbl>
              <c:idx val="3"/>
              <c:layout>
                <c:manualLayout>
                  <c:x val="8.6021204339758496E-3"/>
                  <c:y val="-1.6460905349794289E-2"/>
                </c:manualLayout>
              </c:layout>
              <c:showVal val="1"/>
            </c:dLbl>
            <c:dLbl>
              <c:idx val="4"/>
              <c:layout>
                <c:manualLayout>
                  <c:x val="1.8637927606947685E-2"/>
                  <c:y val="-3.2921810699588559E-3"/>
                </c:manualLayout>
              </c:layout>
              <c:showVal val="1"/>
            </c:dLbl>
            <c:dLbl>
              <c:idx val="5"/>
              <c:layout>
                <c:manualLayout>
                  <c:x val="1.1469381023248201E-2"/>
                  <c:y val="-6.5843621399177136E-3"/>
                </c:manualLayout>
              </c:layout>
              <c:showVal val="1"/>
            </c:dLbl>
            <c:dLbl>
              <c:idx val="6"/>
              <c:layout>
                <c:manualLayout>
                  <c:x val="1.0035807172971789E-2"/>
                  <c:y val="-9.876543209876584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</c:formatCode>
                <c:ptCount val="7"/>
                <c:pt idx="0">
                  <c:v>828258</c:v>
                </c:pt>
                <c:pt idx="1">
                  <c:v>67375</c:v>
                </c:pt>
                <c:pt idx="2">
                  <c:v>4887</c:v>
                </c:pt>
                <c:pt idx="3">
                  <c:v>609754</c:v>
                </c:pt>
                <c:pt idx="4">
                  <c:v>85116</c:v>
                </c:pt>
                <c:pt idx="5">
                  <c:v>1063148</c:v>
                </c:pt>
                <c:pt idx="6">
                  <c:v>2650</c:v>
                </c:pt>
              </c:numCache>
            </c:numRef>
          </c:val>
        </c:ser>
        <c:shape val="box"/>
        <c:axId val="63704448"/>
        <c:axId val="63706240"/>
        <c:axId val="0"/>
      </c:bar3DChart>
      <c:catAx>
        <c:axId val="6370444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3706240"/>
        <c:crosses val="autoZero"/>
        <c:auto val="1"/>
        <c:lblAlgn val="ctr"/>
        <c:lblOffset val="100"/>
      </c:catAx>
      <c:valAx>
        <c:axId val="63706240"/>
        <c:scaling>
          <c:orientation val="minMax"/>
        </c:scaling>
        <c:delete val="1"/>
        <c:axPos val="l"/>
        <c:majorGridlines/>
        <c:numFmt formatCode="#,##0" sourceLinked="1"/>
        <c:tickLblPos val="nextTo"/>
        <c:crossAx val="6370444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35E-2"/>
          <c:y val="3.6213991769547323E-2"/>
          <c:w val="0.95268817204301071"/>
          <c:h val="0.7682854087683482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4"/>
              <c:layout>
                <c:manualLayout>
                  <c:x val="0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123.97110000000001</c:v>
                </c:pt>
                <c:pt idx="1">
                  <c:v>87.8202</c:v>
                </c:pt>
                <c:pt idx="2">
                  <c:v>87.32289999999999</c:v>
                </c:pt>
                <c:pt idx="3">
                  <c:v>108.2089</c:v>
                </c:pt>
                <c:pt idx="4">
                  <c:v>100.9254</c:v>
                </c:pt>
                <c:pt idx="5">
                  <c:v>109.9688</c:v>
                </c:pt>
                <c:pt idx="6">
                  <c:v>81.1674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147.14500000000001</c:v>
                </c:pt>
                <c:pt idx="1">
                  <c:v>103.949</c:v>
                </c:pt>
                <c:pt idx="2">
                  <c:v>95.941999999999993</c:v>
                </c:pt>
                <c:pt idx="3">
                  <c:v>118.876</c:v>
                </c:pt>
                <c:pt idx="4">
                  <c:v>109.038</c:v>
                </c:pt>
                <c:pt idx="5">
                  <c:v>121.045</c:v>
                </c:pt>
                <c:pt idx="6">
                  <c:v>89.578000000000003</c:v>
                </c:pt>
              </c:numCache>
            </c:numRef>
          </c:val>
        </c:ser>
        <c:shape val="box"/>
        <c:axId val="146052992"/>
        <c:axId val="166988032"/>
        <c:axId val="0"/>
      </c:bar3DChart>
      <c:catAx>
        <c:axId val="14605299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6988032"/>
        <c:crosses val="autoZero"/>
        <c:auto val="1"/>
        <c:lblAlgn val="ctr"/>
        <c:lblOffset val="100"/>
      </c:catAx>
      <c:valAx>
        <c:axId val="166988032"/>
        <c:scaling>
          <c:orientation val="minMax"/>
          <c:max val="150"/>
          <c:min val="80"/>
        </c:scaling>
        <c:delete val="1"/>
        <c:axPos val="l"/>
        <c:majorGridlines/>
        <c:numFmt formatCode="#,##0.0" sourceLinked="1"/>
        <c:majorTickMark val="none"/>
        <c:tickLblPos val="nextTo"/>
        <c:crossAx val="14605299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0"/>
          <c:w val="0.96845878136200658"/>
          <c:h val="0.7977942386831298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3"/>
              <c:layout>
                <c:manualLayout>
                  <c:x val="5.7347670250896821E-3"/>
                  <c:y val="-9.8765432098765742E-3"/>
                </c:manualLayout>
              </c:layout>
              <c:showVal val="1"/>
            </c:dLbl>
            <c:dLbl>
              <c:idx val="4"/>
              <c:layout>
                <c:manualLayout>
                  <c:x val="-1.4336917562723993E-3"/>
                  <c:y val="-1.3168724279835427E-2"/>
                </c:manualLayout>
              </c:layout>
              <c:showVal val="1"/>
            </c:dLbl>
            <c:dLbl>
              <c:idx val="6"/>
              <c:layout>
                <c:manualLayout>
                  <c:x val="-2.8673835125448081E-3"/>
                  <c:y val="6.5841029130617934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70.805000000000007</c:v>
                </c:pt>
                <c:pt idx="1">
                  <c:v>70.359700000000004</c:v>
                </c:pt>
                <c:pt idx="2">
                  <c:v>82.085100000000011</c:v>
                </c:pt>
                <c:pt idx="3">
                  <c:v>67.956699999999998</c:v>
                </c:pt>
                <c:pt idx="4">
                  <c:v>82.125199999999992</c:v>
                </c:pt>
                <c:pt idx="5">
                  <c:v>72.828399999999988</c:v>
                </c:pt>
                <c:pt idx="6">
                  <c:v>84.31180000000000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2"/>
              <c:layout>
                <c:manualLayout>
                  <c:x val="0"/>
                  <c:y val="-6.5843621399177005E-3"/>
                </c:manualLayout>
              </c:layout>
              <c:showVal val="1"/>
            </c:dLbl>
            <c:dLbl>
              <c:idx val="3"/>
              <c:layout>
                <c:manualLayout>
                  <c:x val="8.6021505376344346E-3"/>
                  <c:y val="-1.3168724279835366E-2"/>
                </c:manualLayout>
              </c:layout>
              <c:showVal val="1"/>
            </c:dLbl>
            <c:dLbl>
              <c:idx val="4"/>
              <c:layout>
                <c:manualLayout>
                  <c:x val="4.3010752688172008E-3"/>
                  <c:y val="-6.5843621399177005E-3"/>
                </c:manualLayout>
              </c:layout>
              <c:showVal val="1"/>
            </c:dLbl>
            <c:dLbl>
              <c:idx val="5"/>
              <c:layout>
                <c:manualLayout>
                  <c:x val="5.7347670250896231E-3"/>
                  <c:y val="-2.6337448559670854E-2"/>
                </c:manualLayout>
              </c:layout>
              <c:showVal val="1"/>
            </c:dLbl>
            <c:dLbl>
              <c:idx val="6"/>
              <c:layout>
                <c:manualLayout>
                  <c:x val="7.1684587813620202E-3"/>
                  <c:y val="-1.6460905349794271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84.747</c:v>
                </c:pt>
                <c:pt idx="1">
                  <c:v>77.703000000000003</c:v>
                </c:pt>
                <c:pt idx="2">
                  <c:v>96.3</c:v>
                </c:pt>
                <c:pt idx="3">
                  <c:v>73.055000000000007</c:v>
                </c:pt>
                <c:pt idx="4">
                  <c:v>86.180599999999998</c:v>
                </c:pt>
                <c:pt idx="5">
                  <c:v>83.209000000000003</c:v>
                </c:pt>
                <c:pt idx="6">
                  <c:v>79.596999999999994</c:v>
                </c:pt>
              </c:numCache>
            </c:numRef>
          </c:val>
        </c:ser>
        <c:shape val="box"/>
        <c:axId val="176581632"/>
        <c:axId val="197964928"/>
        <c:axId val="0"/>
      </c:bar3DChart>
      <c:catAx>
        <c:axId val="17658163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97964928"/>
        <c:crosses val="autoZero"/>
        <c:auto val="1"/>
        <c:lblAlgn val="ctr"/>
        <c:lblOffset val="100"/>
      </c:catAx>
      <c:valAx>
        <c:axId val="197964928"/>
        <c:scaling>
          <c:orientation val="minMax"/>
          <c:min val="60"/>
        </c:scaling>
        <c:delete val="1"/>
        <c:axPos val="l"/>
        <c:majorGridlines/>
        <c:numFmt formatCode="#,##0.0" sourceLinked="1"/>
        <c:tickLblPos val="nextTo"/>
        <c:crossAx val="17658163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1.9753086419753107E-2"/>
          <c:w val="0.96845878136200658"/>
          <c:h val="0.7780411522633764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3"/>
              <c:layout>
                <c:manualLayout>
                  <c:x val="5.7347670250896795E-3"/>
                  <c:y val="-9.8765432098765725E-3"/>
                </c:manualLayout>
              </c:layout>
              <c:showVal val="1"/>
            </c:dLbl>
            <c:dLbl>
              <c:idx val="4"/>
              <c:layout>
                <c:manualLayout>
                  <c:x val="-1.4336917562723995E-3"/>
                  <c:y val="-1.3168724279835424E-2"/>
                </c:manualLayout>
              </c:layout>
              <c:showVal val="1"/>
            </c:dLbl>
            <c:dLbl>
              <c:idx val="5"/>
              <c:layout>
                <c:manualLayout>
                  <c:x val="1.4336917562723999E-3"/>
                  <c:y val="-2.9629629629629659E-2"/>
                </c:manualLayout>
              </c:layout>
              <c:showVal val="1"/>
            </c:dLbl>
            <c:dLbl>
              <c:idx val="6"/>
              <c:layout>
                <c:manualLayout>
                  <c:x val="-1.4336917562723999E-3"/>
                  <c:y val="-2.633744855967083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97.570999999999998</c:v>
                </c:pt>
                <c:pt idx="1">
                  <c:v>84.652500000000003</c:v>
                </c:pt>
                <c:pt idx="2">
                  <c:v>77.709600000000009</c:v>
                </c:pt>
                <c:pt idx="3">
                  <c:v>87.547699999999992</c:v>
                </c:pt>
                <c:pt idx="4">
                  <c:v>76.347700000000003</c:v>
                </c:pt>
                <c:pt idx="5">
                  <c:v>84.331999999999994</c:v>
                </c:pt>
                <c:pt idx="6">
                  <c:v>89.08469999999999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3"/>
              <c:layout>
                <c:manualLayout>
                  <c:x val="8.6021505376344311E-3"/>
                  <c:y val="-1.3168724279835363E-2"/>
                </c:manualLayout>
              </c:layout>
              <c:showVal val="1"/>
            </c:dLbl>
            <c:dLbl>
              <c:idx val="4"/>
              <c:layout>
                <c:manualLayout>
                  <c:x val="2.8673835125448063E-3"/>
                  <c:y val="-1.9753086419753048E-2"/>
                </c:manualLayout>
              </c:layout>
              <c:showVal val="1"/>
            </c:dLbl>
            <c:dLbl>
              <c:idx val="5"/>
              <c:layout>
                <c:manualLayout>
                  <c:x val="5.7347670250896205E-3"/>
                  <c:y val="-2.6337448559670847E-2"/>
                </c:manualLayout>
              </c:layout>
              <c:showVal val="1"/>
            </c:dLbl>
            <c:dLbl>
              <c:idx val="6"/>
              <c:layout>
                <c:manualLayout>
                  <c:x val="7.1684587813620193E-3"/>
                  <c:y val="-1.6460905349794268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117.114</c:v>
                </c:pt>
                <c:pt idx="1">
                  <c:v>93.438000000000002</c:v>
                </c:pt>
                <c:pt idx="2">
                  <c:v>83.7</c:v>
                </c:pt>
                <c:pt idx="3">
                  <c:v>100.869</c:v>
                </c:pt>
                <c:pt idx="4">
                  <c:v>83.184899999999999</c:v>
                </c:pt>
                <c:pt idx="5">
                  <c:v>91.753</c:v>
                </c:pt>
                <c:pt idx="6">
                  <c:v>96.403999999999996</c:v>
                </c:pt>
              </c:numCache>
            </c:numRef>
          </c:val>
        </c:ser>
        <c:shape val="box"/>
        <c:axId val="217051136"/>
        <c:axId val="217053824"/>
        <c:axId val="0"/>
      </c:bar3DChart>
      <c:catAx>
        <c:axId val="21705113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17053824"/>
        <c:crosses val="autoZero"/>
        <c:auto val="1"/>
        <c:lblAlgn val="ctr"/>
        <c:lblOffset val="100"/>
      </c:catAx>
      <c:valAx>
        <c:axId val="217053824"/>
        <c:scaling>
          <c:orientation val="minMax"/>
          <c:min val="60"/>
        </c:scaling>
        <c:delete val="1"/>
        <c:axPos val="l"/>
        <c:majorGridlines/>
        <c:numFmt formatCode="#,##0.0" sourceLinked="1"/>
        <c:tickLblPos val="nextTo"/>
        <c:crossAx val="21705113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1.904761428631066E-2"/>
          <c:w val="0.96845878136200658"/>
          <c:h val="0.7510476812779199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98.584299999999999</c:v>
                </c:pt>
                <c:pt idx="1">
                  <c:v>99.164600000000007</c:v>
                </c:pt>
                <c:pt idx="2">
                  <c:v>101.0029</c:v>
                </c:pt>
                <c:pt idx="3">
                  <c:v>104.5826</c:v>
                </c:pt>
                <c:pt idx="4">
                  <c:v>100.1957</c:v>
                </c:pt>
                <c:pt idx="5">
                  <c:v>102.9393</c:v>
                </c:pt>
                <c:pt idx="6">
                  <c:v>105.3139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4.3010752688171982E-3"/>
                  <c:y val="-2.9100185658480118E-17"/>
                </c:manualLayout>
              </c:layout>
              <c:showVal val="1"/>
            </c:dLbl>
            <c:dLbl>
              <c:idx val="2"/>
              <c:layout>
                <c:manualLayout>
                  <c:x val="1.1469534050179211E-2"/>
                  <c:y val="-1.2698409524207093E-2"/>
                </c:manualLayout>
              </c:layout>
              <c:showVal val="1"/>
            </c:dLbl>
            <c:dLbl>
              <c:idx val="3"/>
              <c:layout>
                <c:manualLayout>
                  <c:x val="-1.4336917562723999E-3"/>
                  <c:y val="-3.1746023810517742E-3"/>
                </c:manualLayout>
              </c:layout>
              <c:showVal val="1"/>
            </c:dLbl>
            <c:dLbl>
              <c:idx val="4"/>
              <c:layout>
                <c:manualLayout>
                  <c:x val="7.1684587813620158E-3"/>
                  <c:y val="-6.3492047621035537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101.542</c:v>
                </c:pt>
                <c:pt idx="1">
                  <c:v>113.479</c:v>
                </c:pt>
                <c:pt idx="2">
                  <c:v>105.47799999999999</c:v>
                </c:pt>
                <c:pt idx="3">
                  <c:v>120.765</c:v>
                </c:pt>
                <c:pt idx="4">
                  <c:v>105.3032</c:v>
                </c:pt>
                <c:pt idx="5">
                  <c:v>113.428</c:v>
                </c:pt>
                <c:pt idx="6">
                  <c:v>122.291</c:v>
                </c:pt>
              </c:numCache>
            </c:numRef>
          </c:val>
        </c:ser>
        <c:shape val="box"/>
        <c:axId val="63597184"/>
        <c:axId val="63631744"/>
        <c:axId val="0"/>
      </c:bar3DChart>
      <c:catAx>
        <c:axId val="6359718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3631744"/>
        <c:crosses val="autoZero"/>
        <c:auto val="1"/>
        <c:lblAlgn val="ctr"/>
        <c:lblOffset val="100"/>
      </c:catAx>
      <c:valAx>
        <c:axId val="63631744"/>
        <c:scaling>
          <c:orientation val="minMax"/>
          <c:min val="65"/>
        </c:scaling>
        <c:delete val="1"/>
        <c:axPos val="l"/>
        <c:majorGridlines/>
        <c:numFmt formatCode="#,##0.0" sourceLinked="1"/>
        <c:tickLblPos val="nextTo"/>
        <c:crossAx val="6359718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065</cdr:x>
      <cdr:y>0.89286</cdr:y>
    </cdr:from>
    <cdr:to>
      <cdr:x>0.12903</cdr:x>
      <cdr:y>0.9299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14380" y="3571900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065</cdr:x>
      <cdr:y>0.94841</cdr:y>
    </cdr:from>
    <cdr:to>
      <cdr:x>0.12904</cdr:x>
      <cdr:y>0.98545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14380" y="3794128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904</cdr:x>
      <cdr:y>0.87434</cdr:y>
    </cdr:from>
    <cdr:to>
      <cdr:x>0.19356</cdr:x>
      <cdr:y>0.9484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143031" y="349781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2904</cdr:x>
      <cdr:y>0.92989</cdr:y>
    </cdr:from>
    <cdr:to>
      <cdr:x>0.21775</cdr:x>
      <cdr:y>0.98545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143031" y="3720038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89286</cdr:y>
    </cdr:from>
    <cdr:to>
      <cdr:x>0.62904</cdr:x>
      <cdr:y>0.9299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36" y="3571900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7434</cdr:y>
    </cdr:from>
    <cdr:to>
      <cdr:x>0.70967</cdr:x>
      <cdr:y>0.94841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98" y="349781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4643</cdr:y>
    </cdr:from>
    <cdr:to>
      <cdr:x>0.62904</cdr:x>
      <cdr:y>0.98347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36" y="3786214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2593</cdr:y>
    </cdr:from>
    <cdr:to>
      <cdr:x>0.69354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098" y="3712124"/>
          <a:ext cx="571446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1613</cdr:x>
      <cdr:y>0.25</cdr:y>
    </cdr:from>
    <cdr:to>
      <cdr:x>0.95968</cdr:x>
      <cdr:y>0.26143</cdr:y>
    </cdr:to>
    <cdr:sp macro="" textlink="">
      <cdr:nvSpPr>
        <cdr:cNvPr id="14" name="Прямая соединительная линия 13"/>
        <cdr:cNvSpPr/>
      </cdr:nvSpPr>
      <cdr:spPr>
        <a:xfrm xmlns:a="http://schemas.openxmlformats.org/drawingml/2006/main" flipV="1">
          <a:off x="142845" y="1000114"/>
          <a:ext cx="8358201" cy="45726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9677</cdr:x>
      <cdr:y>0.89286</cdr:y>
    </cdr:from>
    <cdr:to>
      <cdr:x>0.14515</cdr:x>
      <cdr:y>0.9299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857256" y="3571900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9677</cdr:x>
      <cdr:y>0.94841</cdr:y>
    </cdr:from>
    <cdr:to>
      <cdr:x>0.14516</cdr:x>
      <cdr:y>0.98545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857256" y="3794128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4516</cdr:x>
      <cdr:y>0.87434</cdr:y>
    </cdr:from>
    <cdr:to>
      <cdr:x>0.20968</cdr:x>
      <cdr:y>0.9484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85907" y="349781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9194</cdr:x>
      <cdr:y>0.87501</cdr:y>
    </cdr:from>
    <cdr:to>
      <cdr:x>0.57258</cdr:x>
      <cdr:y>0.94908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4357718" y="3500462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4355</cdr:x>
      <cdr:y>0.94643</cdr:y>
    </cdr:from>
    <cdr:to>
      <cdr:x>0.49194</cdr:x>
      <cdr:y>0.98347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3929090" y="3786214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18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44355</cdr:x>
      <cdr:y>0.89286</cdr:y>
    </cdr:from>
    <cdr:to>
      <cdr:x>0.49194</cdr:x>
      <cdr:y>0.9299</cdr:y>
    </cdr:to>
    <cdr:sp macro="" textlink="">
      <cdr:nvSpPr>
        <cdr:cNvPr id="21" name="Прямоугольник 7"/>
        <cdr:cNvSpPr/>
      </cdr:nvSpPr>
      <cdr:spPr>
        <a:xfrm xmlns:a="http://schemas.openxmlformats.org/drawingml/2006/main">
          <a:off x="3929090" y="3571900"/>
          <a:ext cx="428651" cy="148179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24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49194</cdr:x>
      <cdr:y>0.92858</cdr:y>
    </cdr:from>
    <cdr:to>
      <cdr:x>0.58065</cdr:x>
      <cdr:y>0.98414</cdr:y>
    </cdr:to>
    <cdr:sp macro="" textlink="">
      <cdr:nvSpPr>
        <cdr:cNvPr id="25" name="TextBox 1"/>
        <cdr:cNvSpPr txBox="1"/>
      </cdr:nvSpPr>
      <cdr:spPr>
        <a:xfrm xmlns:a="http://schemas.openxmlformats.org/drawingml/2006/main">
          <a:off x="4357718" y="3714776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4516</cdr:x>
      <cdr:y>0.92858</cdr:y>
    </cdr:from>
    <cdr:to>
      <cdr:x>0.23387</cdr:x>
      <cdr:y>0.98414</cdr:y>
    </cdr:to>
    <cdr:sp macro="" textlink="">
      <cdr:nvSpPr>
        <cdr:cNvPr id="26" name="TextBox 1"/>
        <cdr:cNvSpPr txBox="1"/>
      </cdr:nvSpPr>
      <cdr:spPr>
        <a:xfrm xmlns:a="http://schemas.openxmlformats.org/drawingml/2006/main">
          <a:off x="1285884" y="3714776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8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9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29</cdr:x>
      <cdr:y>0</cdr:y>
    </cdr:from>
    <cdr:to>
      <cdr:x>0.21613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0132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7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40"/>
          <a:ext cx="428651" cy="142887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32258</cdr:x>
      <cdr:y>0.14815</cdr:y>
    </cdr:from>
    <cdr:to>
      <cdr:x>0.37097</cdr:x>
      <cdr:y>0.203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857520" y="571504"/>
          <a:ext cx="428650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8" y="3429001"/>
          <a:ext cx="571534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8" y="3643336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7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88889</cdr:y>
    </cdr:from>
    <cdr:to>
      <cdr:x>0.70968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156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34"/>
          <a:ext cx="428677" cy="142891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94445</cdr:y>
    </cdr:from>
    <cdr:to>
      <cdr:x>0.69355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55" y="3643320"/>
          <a:ext cx="571482" cy="2143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20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1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2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3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4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5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6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7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8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9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129</cdr:x>
      <cdr:y>0</cdr:y>
    </cdr:from>
    <cdr:to>
      <cdr:x>0.21613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0132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78"/>
          <a:ext cx="428650" cy="142887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9</cdr:y>
    </cdr:from>
    <cdr:to>
      <cdr:x>0.20162</cdr:x>
      <cdr:y>0.96297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7" y="3429039"/>
          <a:ext cx="571535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7" y="3643335"/>
          <a:ext cx="785816" cy="2143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7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67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9355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067" y="3643319"/>
          <a:ext cx="571570" cy="2143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30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1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2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3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4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129</cdr:x>
      <cdr:y>0</cdr:y>
    </cdr:from>
    <cdr:to>
      <cdr:x>0.21613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0132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35"/>
          <a:ext cx="428651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8" y="3429000"/>
          <a:ext cx="571534" cy="2857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8" y="3643292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88889</cdr:y>
    </cdr:from>
    <cdr:to>
      <cdr:x>0.70968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156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8549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33" y="3643320"/>
          <a:ext cx="500066" cy="2143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129</cdr:x>
      <cdr:y>0</cdr:y>
    </cdr:from>
    <cdr:to>
      <cdr:x>0.21613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0132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35"/>
          <a:ext cx="428651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8" y="3429000"/>
          <a:ext cx="571534" cy="2857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8" y="3643292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67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9356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33" y="3643320"/>
          <a:ext cx="571570" cy="2143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064</cdr:x>
      <cdr:y>0.90741</cdr:y>
    </cdr:from>
    <cdr:to>
      <cdr:x>0.12902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14349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064</cdr:x>
      <cdr:y>0.96296</cdr:y>
    </cdr:from>
    <cdr:to>
      <cdr:x>0.12903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14349" y="3714735"/>
          <a:ext cx="428651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903</cdr:x>
      <cdr:y>0.88889</cdr:y>
    </cdr:from>
    <cdr:to>
      <cdr:x>0.19355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143000" y="3429000"/>
          <a:ext cx="571534" cy="2857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2903</cdr:x>
      <cdr:y>0.94444</cdr:y>
    </cdr:from>
    <cdr:to>
      <cdr:x>0.21774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143000" y="3643292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67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9356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33" y="3643320"/>
          <a:ext cx="571570" cy="2143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613</cdr:x>
      <cdr:y>0.18519</cdr:y>
    </cdr:from>
    <cdr:to>
      <cdr:x>0.15323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142876" y="714380"/>
          <a:ext cx="1214446" cy="11430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35"/>
          <a:ext cx="428651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8" y="3429000"/>
          <a:ext cx="571534" cy="2857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8" y="3643292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67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9354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33" y="3643320"/>
          <a:ext cx="571446" cy="2143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500462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714753"/>
          <a:ext cx="428650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27778</cdr:y>
    </cdr:from>
    <cdr:to>
      <cdr:x>0.24194</cdr:x>
      <cdr:y>0.33333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1071570"/>
          <a:ext cx="428651" cy="2142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68" y="3429019"/>
          <a:ext cx="571535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68" y="3643310"/>
          <a:ext cx="785816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36" y="3500462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98" y="3429019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36" y="3714776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94444</cdr:y>
    </cdr:from>
    <cdr:to>
      <cdr:x>0.69355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64" y="3643338"/>
          <a:ext cx="571446" cy="2143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</cdr:x>
      <cdr:y>0</cdr:y>
    </cdr:from>
    <cdr:to>
      <cdr:x>0.94355</cdr:x>
      <cdr:y>0.00041</cdr:y>
    </cdr:to>
    <cdr:sp macro="" textlink="">
      <cdr:nvSpPr>
        <cdr:cNvPr id="15" name="Прямая соединительная линия 14"/>
        <cdr:cNvSpPr/>
      </cdr:nvSpPr>
      <cdr:spPr>
        <a:xfrm xmlns:a="http://schemas.openxmlformats.org/drawingml/2006/main">
          <a:off x="0" y="0"/>
          <a:ext cx="8358201" cy="158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</cdr:x>
      <cdr:y>0</cdr:y>
    </cdr:from>
    <cdr:to>
      <cdr:x>0.94355</cdr:x>
      <cdr:y>0.00041</cdr:y>
    </cdr:to>
    <cdr:sp macro="" textlink="">
      <cdr:nvSpPr>
        <cdr:cNvPr id="17" name="Прямая соединительная линия 16"/>
        <cdr:cNvSpPr/>
      </cdr:nvSpPr>
      <cdr:spPr>
        <a:xfrm xmlns:a="http://schemas.openxmlformats.org/drawingml/2006/main">
          <a:off x="0" y="0"/>
          <a:ext cx="8358201" cy="158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</cdr:x>
      <cdr:y>0</cdr:y>
    </cdr:from>
    <cdr:to>
      <cdr:x>0.94355</cdr:x>
      <cdr:y>0.00041</cdr:y>
    </cdr:to>
    <cdr:sp macro="" textlink="">
      <cdr:nvSpPr>
        <cdr:cNvPr id="18" name="Прямая соединительная линия 17"/>
        <cdr:cNvSpPr/>
      </cdr:nvSpPr>
      <cdr:spPr>
        <a:xfrm xmlns:a="http://schemas.openxmlformats.org/drawingml/2006/main">
          <a:off x="0" y="0"/>
          <a:ext cx="8358201" cy="158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</cdr:x>
      <cdr:y>0</cdr:y>
    </cdr:from>
    <cdr:to>
      <cdr:x>0.94355</cdr:x>
      <cdr:y>0.00041</cdr:y>
    </cdr:to>
    <cdr:sp macro="" textlink="">
      <cdr:nvSpPr>
        <cdr:cNvPr id="19" name="Прямая соединительная линия 18"/>
        <cdr:cNvSpPr/>
      </cdr:nvSpPr>
      <cdr:spPr>
        <a:xfrm xmlns:a="http://schemas.openxmlformats.org/drawingml/2006/main">
          <a:off x="0" y="0"/>
          <a:ext cx="8358201" cy="158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1613</cdr:x>
      <cdr:y>0.38889</cdr:y>
    </cdr:from>
    <cdr:to>
      <cdr:x>0.95968</cdr:x>
      <cdr:y>0.38931</cdr:y>
    </cdr:to>
    <cdr:sp macro="" textlink="">
      <cdr:nvSpPr>
        <cdr:cNvPr id="21" name="Прямая соединительная линия 20"/>
        <cdr:cNvSpPr/>
      </cdr:nvSpPr>
      <cdr:spPr>
        <a:xfrm xmlns:a="http://schemas.openxmlformats.org/drawingml/2006/main">
          <a:off x="142845" y="1500179"/>
          <a:ext cx="8358201" cy="1621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065</cdr:x>
      <cdr:y>0.89286</cdr:y>
    </cdr:from>
    <cdr:to>
      <cdr:x>0.12903</cdr:x>
      <cdr:y>0.9299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14380" y="3571900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065</cdr:x>
      <cdr:y>0.94842</cdr:y>
    </cdr:from>
    <cdr:to>
      <cdr:x>0.12904</cdr:x>
      <cdr:y>0.98546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14380" y="3794139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904</cdr:x>
      <cdr:y>0.87435</cdr:y>
    </cdr:from>
    <cdr:to>
      <cdr:x>0.19356</cdr:x>
      <cdr:y>0.94842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143031" y="3497822"/>
          <a:ext cx="571534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2904</cdr:x>
      <cdr:y>0.9299</cdr:y>
    </cdr:from>
    <cdr:to>
      <cdr:x>0.21775</cdr:x>
      <cdr:y>0.98546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143031" y="3720050"/>
          <a:ext cx="785815" cy="2222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89286</cdr:y>
    </cdr:from>
    <cdr:to>
      <cdr:x>0.62904</cdr:x>
      <cdr:y>0.9299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36" y="3571900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7434</cdr:y>
    </cdr:from>
    <cdr:to>
      <cdr:x>0.70967</cdr:x>
      <cdr:y>0.94841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98" y="3497810"/>
          <a:ext cx="714329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19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4643</cdr:y>
    </cdr:from>
    <cdr:to>
      <cdr:x>0.62904</cdr:x>
      <cdr:y>0.98348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36" y="3786214"/>
          <a:ext cx="428651" cy="148179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92593</cdr:y>
    </cdr:from>
    <cdr:to>
      <cdr:x>0.69355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64" y="3714776"/>
          <a:ext cx="571446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1613</cdr:x>
      <cdr:y>0.25</cdr:y>
    </cdr:from>
    <cdr:to>
      <cdr:x>0.95968</cdr:x>
      <cdr:y>0.26143</cdr:y>
    </cdr:to>
    <cdr:sp macro="" textlink="">
      <cdr:nvSpPr>
        <cdr:cNvPr id="14" name="Прямая соединительная линия 13"/>
        <cdr:cNvSpPr/>
      </cdr:nvSpPr>
      <cdr:spPr>
        <a:xfrm xmlns:a="http://schemas.openxmlformats.org/drawingml/2006/main" flipV="1">
          <a:off x="142845" y="1000114"/>
          <a:ext cx="8358201" cy="45726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8839778C-C0FB-4CE4-A640-FE97B77EC5B1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7AD15A1-7625-4485-AE5D-2216FD5E9E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53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C22DC97-B492-422D-811E-689FE00CD76C}" type="slidenum">
              <a:rPr lang="ru-RU" smtClean="0"/>
              <a:pPr/>
              <a:t>7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73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4D69D1F-11D0-45D7-82B6-5F154A270153}" type="slidenum">
              <a:rPr lang="ru-RU" smtClean="0"/>
              <a:pPr/>
              <a:t>9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AFE4BE-4CE9-4AC9-BAAA-C595D2F2D2BD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E0BDF6-EB37-4E77-A861-9A39EBF142C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5553C9-E7FF-46BE-9F2E-CABAC11C80A5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3145F-C655-4C8B-B6D1-815232BF1F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F5E38F-4D7F-441E-8DB3-9CE639E9F34B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5F064E-CBED-469C-8965-4B2A30212F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 userDrawn="1"/>
        </p:nvSpPr>
        <p:spPr bwMode="auto">
          <a:xfrm>
            <a:off x="0" y="1819275"/>
            <a:ext cx="9144000" cy="3960813"/>
          </a:xfrm>
          <a:prstGeom prst="rect">
            <a:avLst/>
          </a:prstGeom>
          <a:gradFill rotWithShape="1">
            <a:gsLst>
              <a:gs pos="0">
                <a:srgbClr val="D5EAFF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hlink"/>
              </a:buClr>
              <a:buSzPct val="110000"/>
              <a:defRPr/>
            </a:pPr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3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682" r:id="rId4" imgW="0" imgH="0" progId="">
              <p:embed/>
            </p:oleObj>
          </a:graphicData>
        </a:graphic>
      </p:graphicFrame>
      <p:sp>
        <p:nvSpPr>
          <p:cNvPr id="4" name="Line 6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0" y="6096000"/>
            <a:ext cx="91440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hlink"/>
              </a:buClr>
              <a:buSzPct val="110000"/>
              <a:defRPr/>
            </a:pPr>
            <a:endParaRPr lang="en-US" dirty="0">
              <a:latin typeface="+mn-lt"/>
              <a:cs typeface="+mn-cs"/>
            </a:endParaRPr>
          </a:p>
        </p:txBody>
      </p:sp>
      <p:pic>
        <p:nvPicPr>
          <p:cNvPr id="5" name="Picture 7" descr="Герб Чукотского автономного округа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646988" y="250825"/>
            <a:ext cx="1028700" cy="129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10"/>
          <p:cNvSpPr>
            <a:spLocks noEditPoints="1"/>
          </p:cNvSpPr>
          <p:nvPr userDrawn="1"/>
        </p:nvSpPr>
        <p:spPr bwMode="auto">
          <a:xfrm>
            <a:off x="755650" y="2251075"/>
            <a:ext cx="2127250" cy="2854325"/>
          </a:xfrm>
          <a:custGeom>
            <a:avLst/>
            <a:gdLst/>
            <a:ahLst/>
            <a:cxnLst>
              <a:cxn ang="0">
                <a:pos x="304" y="65"/>
              </a:cxn>
              <a:cxn ang="0">
                <a:pos x="388" y="138"/>
              </a:cxn>
              <a:cxn ang="0">
                <a:pos x="312" y="288"/>
              </a:cxn>
              <a:cxn ang="0">
                <a:pos x="259" y="299"/>
              </a:cxn>
              <a:cxn ang="0">
                <a:pos x="207" y="288"/>
              </a:cxn>
              <a:cxn ang="0">
                <a:pos x="99" y="118"/>
              </a:cxn>
              <a:cxn ang="0">
                <a:pos x="148" y="28"/>
              </a:cxn>
              <a:cxn ang="0">
                <a:pos x="111" y="23"/>
              </a:cxn>
              <a:cxn ang="0">
                <a:pos x="101" y="0"/>
              </a:cxn>
              <a:cxn ang="0">
                <a:pos x="54" y="102"/>
              </a:cxn>
              <a:cxn ang="0">
                <a:pos x="65" y="145"/>
              </a:cxn>
              <a:cxn ang="0">
                <a:pos x="45" y="150"/>
              </a:cxn>
              <a:cxn ang="0">
                <a:pos x="137" y="288"/>
              </a:cxn>
              <a:cxn ang="0">
                <a:pos x="135" y="328"/>
              </a:cxn>
              <a:cxn ang="0">
                <a:pos x="191" y="371"/>
              </a:cxn>
              <a:cxn ang="0">
                <a:pos x="157" y="562"/>
              </a:cxn>
              <a:cxn ang="0">
                <a:pos x="189" y="670"/>
              </a:cxn>
              <a:cxn ang="0">
                <a:pos x="270" y="779"/>
              </a:cxn>
              <a:cxn ang="0">
                <a:pos x="327" y="896"/>
              </a:cxn>
              <a:cxn ang="0">
                <a:pos x="284" y="1098"/>
              </a:cxn>
              <a:cxn ang="0">
                <a:pos x="307" y="1104"/>
              </a:cxn>
              <a:cxn ang="0">
                <a:pos x="347" y="1023"/>
              </a:cxn>
              <a:cxn ang="0">
                <a:pos x="374" y="931"/>
              </a:cxn>
              <a:cxn ang="0">
                <a:pos x="366" y="1062"/>
              </a:cxn>
              <a:cxn ang="0">
                <a:pos x="426" y="1028"/>
              </a:cxn>
              <a:cxn ang="0">
                <a:pos x="470" y="987"/>
              </a:cxn>
              <a:cxn ang="0">
                <a:pos x="489" y="957"/>
              </a:cxn>
              <a:cxn ang="0">
                <a:pos x="597" y="846"/>
              </a:cxn>
              <a:cxn ang="0">
                <a:pos x="606" y="717"/>
              </a:cxn>
              <a:cxn ang="0">
                <a:pos x="698" y="761"/>
              </a:cxn>
              <a:cxn ang="0">
                <a:pos x="759" y="969"/>
              </a:cxn>
              <a:cxn ang="0">
                <a:pos x="740" y="1019"/>
              </a:cxn>
              <a:cxn ang="0">
                <a:pos x="816" y="979"/>
              </a:cxn>
              <a:cxn ang="0">
                <a:pos x="806" y="934"/>
              </a:cxn>
              <a:cxn ang="0">
                <a:pos x="809" y="780"/>
              </a:cxn>
              <a:cxn ang="0">
                <a:pos x="737" y="571"/>
              </a:cxn>
              <a:cxn ang="0">
                <a:pos x="550" y="460"/>
              </a:cxn>
              <a:cxn ang="0">
                <a:pos x="385" y="483"/>
              </a:cxn>
              <a:cxn ang="0">
                <a:pos x="353" y="452"/>
              </a:cxn>
              <a:cxn ang="0">
                <a:pos x="366" y="426"/>
              </a:cxn>
              <a:cxn ang="0">
                <a:pos x="356" y="366"/>
              </a:cxn>
              <a:cxn ang="0">
                <a:pos x="360" y="349"/>
              </a:cxn>
              <a:cxn ang="0">
                <a:pos x="382" y="305"/>
              </a:cxn>
              <a:cxn ang="0">
                <a:pos x="482" y="177"/>
              </a:cxn>
              <a:cxn ang="0">
                <a:pos x="412" y="153"/>
              </a:cxn>
              <a:cxn ang="0">
                <a:pos x="423" y="117"/>
              </a:cxn>
              <a:cxn ang="0">
                <a:pos x="399" y="114"/>
              </a:cxn>
              <a:cxn ang="0">
                <a:pos x="345" y="83"/>
              </a:cxn>
              <a:cxn ang="0">
                <a:pos x="437" y="759"/>
              </a:cxn>
              <a:cxn ang="0">
                <a:pos x="399" y="863"/>
              </a:cxn>
              <a:cxn ang="0">
                <a:pos x="428" y="976"/>
              </a:cxn>
              <a:cxn ang="0">
                <a:pos x="509" y="806"/>
              </a:cxn>
              <a:cxn ang="0">
                <a:pos x="489" y="755"/>
              </a:cxn>
              <a:cxn ang="0">
                <a:pos x="88" y="98"/>
              </a:cxn>
              <a:cxn ang="0">
                <a:pos x="74" y="109"/>
              </a:cxn>
              <a:cxn ang="0">
                <a:pos x="419" y="245"/>
              </a:cxn>
              <a:cxn ang="0">
                <a:pos x="419" y="245"/>
              </a:cxn>
            </a:cxnLst>
            <a:rect l="0" t="0" r="r" b="b"/>
            <a:pathLst>
              <a:path w="823" h="1104">
                <a:moveTo>
                  <a:pt x="345" y="83"/>
                </a:moveTo>
                <a:cubicBezTo>
                  <a:pt x="335" y="91"/>
                  <a:pt x="319" y="76"/>
                  <a:pt x="304" y="65"/>
                </a:cubicBezTo>
                <a:cubicBezTo>
                  <a:pt x="318" y="97"/>
                  <a:pt x="349" y="104"/>
                  <a:pt x="358" y="109"/>
                </a:cubicBezTo>
                <a:cubicBezTo>
                  <a:pt x="364" y="119"/>
                  <a:pt x="381" y="132"/>
                  <a:pt x="388" y="138"/>
                </a:cubicBezTo>
                <a:cubicBezTo>
                  <a:pt x="383" y="165"/>
                  <a:pt x="388" y="205"/>
                  <a:pt x="374" y="230"/>
                </a:cubicBezTo>
                <a:cubicBezTo>
                  <a:pt x="360" y="259"/>
                  <a:pt x="323" y="286"/>
                  <a:pt x="312" y="288"/>
                </a:cubicBezTo>
                <a:cubicBezTo>
                  <a:pt x="297" y="286"/>
                  <a:pt x="303" y="299"/>
                  <a:pt x="288" y="300"/>
                </a:cubicBezTo>
                <a:cubicBezTo>
                  <a:pt x="279" y="303"/>
                  <a:pt x="267" y="301"/>
                  <a:pt x="259" y="299"/>
                </a:cubicBezTo>
                <a:cubicBezTo>
                  <a:pt x="291" y="275"/>
                  <a:pt x="309" y="241"/>
                  <a:pt x="295" y="218"/>
                </a:cubicBezTo>
                <a:cubicBezTo>
                  <a:pt x="276" y="280"/>
                  <a:pt x="227" y="285"/>
                  <a:pt x="207" y="288"/>
                </a:cubicBezTo>
                <a:cubicBezTo>
                  <a:pt x="131" y="268"/>
                  <a:pt x="79" y="203"/>
                  <a:pt x="85" y="137"/>
                </a:cubicBezTo>
                <a:cubicBezTo>
                  <a:pt x="88" y="126"/>
                  <a:pt x="94" y="125"/>
                  <a:pt x="99" y="118"/>
                </a:cubicBezTo>
                <a:cubicBezTo>
                  <a:pt x="106" y="100"/>
                  <a:pt x="115" y="89"/>
                  <a:pt x="116" y="70"/>
                </a:cubicBezTo>
                <a:cubicBezTo>
                  <a:pt x="125" y="62"/>
                  <a:pt x="149" y="42"/>
                  <a:pt x="148" y="28"/>
                </a:cubicBezTo>
                <a:cubicBezTo>
                  <a:pt x="137" y="34"/>
                  <a:pt x="122" y="54"/>
                  <a:pt x="116" y="52"/>
                </a:cubicBezTo>
                <a:cubicBezTo>
                  <a:pt x="116" y="45"/>
                  <a:pt x="116" y="27"/>
                  <a:pt x="111" y="23"/>
                </a:cubicBezTo>
                <a:cubicBezTo>
                  <a:pt x="107" y="44"/>
                  <a:pt x="108" y="45"/>
                  <a:pt x="105" y="54"/>
                </a:cubicBezTo>
                <a:cubicBezTo>
                  <a:pt x="87" y="52"/>
                  <a:pt x="95" y="22"/>
                  <a:pt x="101" y="0"/>
                </a:cubicBezTo>
                <a:cubicBezTo>
                  <a:pt x="79" y="11"/>
                  <a:pt x="80" y="55"/>
                  <a:pt x="70" y="65"/>
                </a:cubicBezTo>
                <a:cubicBezTo>
                  <a:pt x="64" y="71"/>
                  <a:pt x="52" y="83"/>
                  <a:pt x="54" y="102"/>
                </a:cubicBezTo>
                <a:cubicBezTo>
                  <a:pt x="31" y="64"/>
                  <a:pt x="37" y="33"/>
                  <a:pt x="39" y="13"/>
                </a:cubicBezTo>
                <a:cubicBezTo>
                  <a:pt x="0" y="79"/>
                  <a:pt x="65" y="139"/>
                  <a:pt x="65" y="145"/>
                </a:cubicBezTo>
                <a:cubicBezTo>
                  <a:pt x="65" y="171"/>
                  <a:pt x="70" y="201"/>
                  <a:pt x="79" y="224"/>
                </a:cubicBezTo>
                <a:cubicBezTo>
                  <a:pt x="54" y="216"/>
                  <a:pt x="53" y="173"/>
                  <a:pt x="45" y="150"/>
                </a:cubicBezTo>
                <a:cubicBezTo>
                  <a:pt x="36" y="154"/>
                  <a:pt x="38" y="205"/>
                  <a:pt x="56" y="230"/>
                </a:cubicBezTo>
                <a:cubicBezTo>
                  <a:pt x="79" y="250"/>
                  <a:pt x="120" y="257"/>
                  <a:pt x="137" y="288"/>
                </a:cubicBezTo>
                <a:cubicBezTo>
                  <a:pt x="132" y="295"/>
                  <a:pt x="128" y="302"/>
                  <a:pt x="135" y="308"/>
                </a:cubicBezTo>
                <a:cubicBezTo>
                  <a:pt x="140" y="315"/>
                  <a:pt x="133" y="320"/>
                  <a:pt x="135" y="328"/>
                </a:cubicBezTo>
                <a:cubicBezTo>
                  <a:pt x="137" y="337"/>
                  <a:pt x="151" y="342"/>
                  <a:pt x="153" y="353"/>
                </a:cubicBezTo>
                <a:cubicBezTo>
                  <a:pt x="171" y="367"/>
                  <a:pt x="180" y="365"/>
                  <a:pt x="191" y="371"/>
                </a:cubicBezTo>
                <a:cubicBezTo>
                  <a:pt x="173" y="433"/>
                  <a:pt x="163" y="491"/>
                  <a:pt x="152" y="554"/>
                </a:cubicBezTo>
                <a:cubicBezTo>
                  <a:pt x="153" y="558"/>
                  <a:pt x="155" y="559"/>
                  <a:pt x="157" y="562"/>
                </a:cubicBezTo>
                <a:cubicBezTo>
                  <a:pt x="152" y="602"/>
                  <a:pt x="171" y="636"/>
                  <a:pt x="183" y="674"/>
                </a:cubicBezTo>
                <a:cubicBezTo>
                  <a:pt x="185" y="670"/>
                  <a:pt x="185" y="670"/>
                  <a:pt x="189" y="670"/>
                </a:cubicBezTo>
                <a:cubicBezTo>
                  <a:pt x="194" y="680"/>
                  <a:pt x="203" y="687"/>
                  <a:pt x="212" y="697"/>
                </a:cubicBezTo>
                <a:cubicBezTo>
                  <a:pt x="205" y="725"/>
                  <a:pt x="244" y="770"/>
                  <a:pt x="270" y="779"/>
                </a:cubicBezTo>
                <a:cubicBezTo>
                  <a:pt x="280" y="812"/>
                  <a:pt x="307" y="842"/>
                  <a:pt x="334" y="872"/>
                </a:cubicBezTo>
                <a:cubicBezTo>
                  <a:pt x="336" y="878"/>
                  <a:pt x="327" y="887"/>
                  <a:pt x="327" y="896"/>
                </a:cubicBezTo>
                <a:cubicBezTo>
                  <a:pt x="338" y="955"/>
                  <a:pt x="316" y="1017"/>
                  <a:pt x="284" y="1070"/>
                </a:cubicBezTo>
                <a:cubicBezTo>
                  <a:pt x="283" y="1078"/>
                  <a:pt x="277" y="1086"/>
                  <a:pt x="284" y="1098"/>
                </a:cubicBezTo>
                <a:cubicBezTo>
                  <a:pt x="288" y="1104"/>
                  <a:pt x="296" y="1097"/>
                  <a:pt x="302" y="1098"/>
                </a:cubicBezTo>
                <a:cubicBezTo>
                  <a:pt x="300" y="1103"/>
                  <a:pt x="301" y="1104"/>
                  <a:pt x="307" y="1104"/>
                </a:cubicBezTo>
                <a:cubicBezTo>
                  <a:pt x="334" y="1095"/>
                  <a:pt x="358" y="1072"/>
                  <a:pt x="349" y="1049"/>
                </a:cubicBezTo>
                <a:cubicBezTo>
                  <a:pt x="363" y="1040"/>
                  <a:pt x="349" y="1030"/>
                  <a:pt x="347" y="1023"/>
                </a:cubicBezTo>
                <a:cubicBezTo>
                  <a:pt x="353" y="991"/>
                  <a:pt x="361" y="959"/>
                  <a:pt x="372" y="928"/>
                </a:cubicBezTo>
                <a:cubicBezTo>
                  <a:pt x="372" y="928"/>
                  <a:pt x="372" y="928"/>
                  <a:pt x="374" y="931"/>
                </a:cubicBezTo>
                <a:cubicBezTo>
                  <a:pt x="383" y="959"/>
                  <a:pt x="408" y="995"/>
                  <a:pt x="379" y="1023"/>
                </a:cubicBezTo>
                <a:cubicBezTo>
                  <a:pt x="374" y="1034"/>
                  <a:pt x="359" y="1054"/>
                  <a:pt x="366" y="1062"/>
                </a:cubicBezTo>
                <a:cubicBezTo>
                  <a:pt x="364" y="1067"/>
                  <a:pt x="365" y="1071"/>
                  <a:pt x="372" y="1072"/>
                </a:cubicBezTo>
                <a:cubicBezTo>
                  <a:pt x="401" y="1074"/>
                  <a:pt x="429" y="1053"/>
                  <a:pt x="426" y="1028"/>
                </a:cubicBezTo>
                <a:cubicBezTo>
                  <a:pt x="438" y="1022"/>
                  <a:pt x="435" y="1012"/>
                  <a:pt x="432" y="1004"/>
                </a:cubicBezTo>
                <a:cubicBezTo>
                  <a:pt x="443" y="1004"/>
                  <a:pt x="459" y="995"/>
                  <a:pt x="470" y="987"/>
                </a:cubicBezTo>
                <a:cubicBezTo>
                  <a:pt x="480" y="981"/>
                  <a:pt x="475" y="972"/>
                  <a:pt x="477" y="965"/>
                </a:cubicBezTo>
                <a:cubicBezTo>
                  <a:pt x="477" y="957"/>
                  <a:pt x="489" y="965"/>
                  <a:pt x="489" y="957"/>
                </a:cubicBezTo>
                <a:cubicBezTo>
                  <a:pt x="493" y="953"/>
                  <a:pt x="492" y="948"/>
                  <a:pt x="500" y="944"/>
                </a:cubicBezTo>
                <a:cubicBezTo>
                  <a:pt x="502" y="896"/>
                  <a:pt x="569" y="880"/>
                  <a:pt x="597" y="846"/>
                </a:cubicBezTo>
                <a:cubicBezTo>
                  <a:pt x="601" y="842"/>
                  <a:pt x="599" y="842"/>
                  <a:pt x="597" y="838"/>
                </a:cubicBezTo>
                <a:cubicBezTo>
                  <a:pt x="565" y="799"/>
                  <a:pt x="601" y="755"/>
                  <a:pt x="606" y="717"/>
                </a:cubicBezTo>
                <a:cubicBezTo>
                  <a:pt x="611" y="714"/>
                  <a:pt x="617" y="708"/>
                  <a:pt x="624" y="706"/>
                </a:cubicBezTo>
                <a:cubicBezTo>
                  <a:pt x="649" y="725"/>
                  <a:pt x="683" y="731"/>
                  <a:pt x="698" y="761"/>
                </a:cubicBezTo>
                <a:cubicBezTo>
                  <a:pt x="705" y="774"/>
                  <a:pt x="726" y="776"/>
                  <a:pt x="737" y="789"/>
                </a:cubicBezTo>
                <a:cubicBezTo>
                  <a:pt x="789" y="859"/>
                  <a:pt x="771" y="953"/>
                  <a:pt x="759" y="969"/>
                </a:cubicBezTo>
                <a:cubicBezTo>
                  <a:pt x="752" y="979"/>
                  <a:pt x="739" y="1004"/>
                  <a:pt x="736" y="1010"/>
                </a:cubicBezTo>
                <a:cubicBezTo>
                  <a:pt x="736" y="1011"/>
                  <a:pt x="734" y="1014"/>
                  <a:pt x="740" y="1019"/>
                </a:cubicBezTo>
                <a:cubicBezTo>
                  <a:pt x="749" y="1021"/>
                  <a:pt x="751" y="1012"/>
                  <a:pt x="756" y="1019"/>
                </a:cubicBezTo>
                <a:cubicBezTo>
                  <a:pt x="791" y="1023"/>
                  <a:pt x="800" y="996"/>
                  <a:pt x="816" y="979"/>
                </a:cubicBezTo>
                <a:cubicBezTo>
                  <a:pt x="823" y="970"/>
                  <a:pt x="815" y="956"/>
                  <a:pt x="814" y="945"/>
                </a:cubicBezTo>
                <a:cubicBezTo>
                  <a:pt x="812" y="940"/>
                  <a:pt x="809" y="940"/>
                  <a:pt x="806" y="934"/>
                </a:cubicBezTo>
                <a:cubicBezTo>
                  <a:pt x="801" y="911"/>
                  <a:pt x="805" y="887"/>
                  <a:pt x="802" y="864"/>
                </a:cubicBezTo>
                <a:cubicBezTo>
                  <a:pt x="807" y="836"/>
                  <a:pt x="813" y="806"/>
                  <a:pt x="809" y="780"/>
                </a:cubicBezTo>
                <a:cubicBezTo>
                  <a:pt x="766" y="753"/>
                  <a:pt x="767" y="717"/>
                  <a:pt x="739" y="676"/>
                </a:cubicBezTo>
                <a:cubicBezTo>
                  <a:pt x="718" y="638"/>
                  <a:pt x="741" y="607"/>
                  <a:pt x="737" y="571"/>
                </a:cubicBezTo>
                <a:cubicBezTo>
                  <a:pt x="734" y="550"/>
                  <a:pt x="713" y="498"/>
                  <a:pt x="683" y="481"/>
                </a:cubicBezTo>
                <a:cubicBezTo>
                  <a:pt x="641" y="462"/>
                  <a:pt x="570" y="452"/>
                  <a:pt x="550" y="460"/>
                </a:cubicBezTo>
                <a:cubicBezTo>
                  <a:pt x="508" y="476"/>
                  <a:pt x="463" y="478"/>
                  <a:pt x="430" y="494"/>
                </a:cubicBezTo>
                <a:cubicBezTo>
                  <a:pt x="422" y="500"/>
                  <a:pt x="403" y="484"/>
                  <a:pt x="385" y="483"/>
                </a:cubicBezTo>
                <a:cubicBezTo>
                  <a:pt x="368" y="482"/>
                  <a:pt x="351" y="496"/>
                  <a:pt x="342" y="473"/>
                </a:cubicBezTo>
                <a:cubicBezTo>
                  <a:pt x="333" y="458"/>
                  <a:pt x="352" y="467"/>
                  <a:pt x="353" y="452"/>
                </a:cubicBezTo>
                <a:cubicBezTo>
                  <a:pt x="359" y="451"/>
                  <a:pt x="368" y="444"/>
                  <a:pt x="368" y="437"/>
                </a:cubicBezTo>
                <a:cubicBezTo>
                  <a:pt x="370" y="433"/>
                  <a:pt x="370" y="430"/>
                  <a:pt x="366" y="426"/>
                </a:cubicBezTo>
                <a:cubicBezTo>
                  <a:pt x="372" y="417"/>
                  <a:pt x="363" y="407"/>
                  <a:pt x="356" y="392"/>
                </a:cubicBezTo>
                <a:cubicBezTo>
                  <a:pt x="358" y="381"/>
                  <a:pt x="365" y="373"/>
                  <a:pt x="356" y="366"/>
                </a:cubicBezTo>
                <a:cubicBezTo>
                  <a:pt x="367" y="356"/>
                  <a:pt x="351" y="350"/>
                  <a:pt x="364" y="354"/>
                </a:cubicBezTo>
                <a:cubicBezTo>
                  <a:pt x="357" y="351"/>
                  <a:pt x="360" y="349"/>
                  <a:pt x="360" y="349"/>
                </a:cubicBezTo>
                <a:cubicBezTo>
                  <a:pt x="361" y="346"/>
                  <a:pt x="361" y="343"/>
                  <a:pt x="358" y="337"/>
                </a:cubicBezTo>
                <a:cubicBezTo>
                  <a:pt x="374" y="335"/>
                  <a:pt x="389" y="319"/>
                  <a:pt x="382" y="305"/>
                </a:cubicBezTo>
                <a:cubicBezTo>
                  <a:pt x="423" y="285"/>
                  <a:pt x="426" y="258"/>
                  <a:pt x="426" y="243"/>
                </a:cubicBezTo>
                <a:cubicBezTo>
                  <a:pt x="452" y="229"/>
                  <a:pt x="482" y="199"/>
                  <a:pt x="482" y="177"/>
                </a:cubicBezTo>
                <a:cubicBezTo>
                  <a:pt x="459" y="196"/>
                  <a:pt x="437" y="218"/>
                  <a:pt x="408" y="217"/>
                </a:cubicBezTo>
                <a:cubicBezTo>
                  <a:pt x="399" y="196"/>
                  <a:pt x="403" y="169"/>
                  <a:pt x="412" y="153"/>
                </a:cubicBezTo>
                <a:cubicBezTo>
                  <a:pt x="450" y="132"/>
                  <a:pt x="487" y="82"/>
                  <a:pt x="448" y="47"/>
                </a:cubicBezTo>
                <a:cubicBezTo>
                  <a:pt x="448" y="71"/>
                  <a:pt x="446" y="107"/>
                  <a:pt x="423" y="117"/>
                </a:cubicBezTo>
                <a:cubicBezTo>
                  <a:pt x="419" y="83"/>
                  <a:pt x="426" y="33"/>
                  <a:pt x="398" y="23"/>
                </a:cubicBezTo>
                <a:cubicBezTo>
                  <a:pt x="407" y="48"/>
                  <a:pt x="409" y="88"/>
                  <a:pt x="399" y="114"/>
                </a:cubicBezTo>
                <a:cubicBezTo>
                  <a:pt x="366" y="94"/>
                  <a:pt x="359" y="55"/>
                  <a:pt x="359" y="25"/>
                </a:cubicBezTo>
                <a:cubicBezTo>
                  <a:pt x="350" y="27"/>
                  <a:pt x="353" y="71"/>
                  <a:pt x="345" y="83"/>
                </a:cubicBezTo>
                <a:close/>
                <a:moveTo>
                  <a:pt x="480" y="755"/>
                </a:moveTo>
                <a:cubicBezTo>
                  <a:pt x="466" y="759"/>
                  <a:pt x="448" y="757"/>
                  <a:pt x="437" y="759"/>
                </a:cubicBezTo>
                <a:cubicBezTo>
                  <a:pt x="437" y="763"/>
                  <a:pt x="426" y="767"/>
                  <a:pt x="426" y="770"/>
                </a:cubicBezTo>
                <a:cubicBezTo>
                  <a:pt x="419" y="801"/>
                  <a:pt x="410" y="832"/>
                  <a:pt x="399" y="863"/>
                </a:cubicBezTo>
                <a:cubicBezTo>
                  <a:pt x="421" y="893"/>
                  <a:pt x="401" y="936"/>
                  <a:pt x="426" y="970"/>
                </a:cubicBezTo>
                <a:cubicBezTo>
                  <a:pt x="426" y="972"/>
                  <a:pt x="426" y="981"/>
                  <a:pt x="428" y="976"/>
                </a:cubicBezTo>
                <a:cubicBezTo>
                  <a:pt x="430" y="921"/>
                  <a:pt x="509" y="891"/>
                  <a:pt x="532" y="847"/>
                </a:cubicBezTo>
                <a:cubicBezTo>
                  <a:pt x="529" y="831"/>
                  <a:pt x="523" y="817"/>
                  <a:pt x="509" y="806"/>
                </a:cubicBezTo>
                <a:cubicBezTo>
                  <a:pt x="502" y="804"/>
                  <a:pt x="500" y="799"/>
                  <a:pt x="498" y="795"/>
                </a:cubicBezTo>
                <a:cubicBezTo>
                  <a:pt x="491" y="783"/>
                  <a:pt x="495" y="763"/>
                  <a:pt x="489" y="755"/>
                </a:cubicBezTo>
                <a:cubicBezTo>
                  <a:pt x="484" y="755"/>
                  <a:pt x="484" y="755"/>
                  <a:pt x="480" y="755"/>
                </a:cubicBezTo>
                <a:close/>
                <a:moveTo>
                  <a:pt x="88" y="98"/>
                </a:moveTo>
                <a:cubicBezTo>
                  <a:pt x="92" y="93"/>
                  <a:pt x="92" y="90"/>
                  <a:pt x="98" y="78"/>
                </a:cubicBezTo>
                <a:cubicBezTo>
                  <a:pt x="88" y="82"/>
                  <a:pt x="69" y="93"/>
                  <a:pt x="74" y="109"/>
                </a:cubicBezTo>
                <a:cubicBezTo>
                  <a:pt x="84" y="108"/>
                  <a:pt x="84" y="103"/>
                  <a:pt x="88" y="98"/>
                </a:cubicBezTo>
                <a:close/>
                <a:moveTo>
                  <a:pt x="419" y="245"/>
                </a:moveTo>
                <a:cubicBezTo>
                  <a:pt x="401" y="251"/>
                  <a:pt x="375" y="272"/>
                  <a:pt x="372" y="285"/>
                </a:cubicBezTo>
                <a:cubicBezTo>
                  <a:pt x="387" y="281"/>
                  <a:pt x="410" y="271"/>
                  <a:pt x="419" y="24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ffectLst>
            <a:prstShdw prst="shdw17" dist="17961" dir="2700000">
              <a:srgbClr val="99CCFF"/>
            </a:prstShdw>
          </a:effectLst>
        </p:spPr>
        <p:txBody>
          <a:bodyPr/>
          <a:lstStyle/>
          <a:p>
            <a:pPr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hlink"/>
              </a:buClr>
              <a:buSzPct val="110000"/>
              <a:defRPr/>
            </a:pPr>
            <a:endParaRPr lang="en-US" dirty="0">
              <a:latin typeface="+mn-lt"/>
              <a:cs typeface="+mn-cs"/>
            </a:endParaRPr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8F8924-4DB0-4618-85AD-DDF27D5B7EEF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D2BE75-65D7-42AB-A81D-C97F6CEA70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DF16AB-3D6D-49D2-A06B-02CE8CC8D6C8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7ED29-A6A5-45E6-B168-BDC4973084C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57C1D1-D5B1-41C8-BE44-4DD212BC9D29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985F69-E8AA-4392-BC1D-492101B1A0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BB7CD7-D397-40FD-B00B-B0D9BFD08975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6EACA1-62FF-4B9C-99C5-9101416903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A3C032-E791-4AB3-9CE7-831D6CB7A749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EFF8B-C8AF-4883-9172-F9CD370BC2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B1294C-935A-4EE1-A713-B139093BBBFB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790D56-F881-4875-9117-F2FF308523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C4CA5-FE5E-472D-ABDA-16E65DD455C3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7D75CC-2EE7-4B7D-AE39-128827500F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67A4F0-5172-4544-9B48-7A3F687F6203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DC99F9-8574-4FD6-B9D5-D73A872318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51203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5DA4DE2-2F63-4249-B70F-54A3EA1FEFF5}" type="datetimeFigureOut">
              <a:rPr lang="ru-RU"/>
              <a:pPr>
                <a:defRPr/>
              </a:pPr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5C5619D-78B3-4848-A569-A982A642F6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3.emf"/><Relationship Id="rId18" Type="http://schemas.openxmlformats.org/officeDocument/2006/relationships/image" Target="../media/image8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2.emf"/><Relationship Id="rId17" Type="http://schemas.openxmlformats.org/officeDocument/2006/relationships/image" Target="../media/image7.emf"/><Relationship Id="rId2" Type="http://schemas.openxmlformats.org/officeDocument/2006/relationships/tags" Target="../tags/tag4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oleObject" Target="../embeddings/oleObject3.bin"/><Relationship Id="rId5" Type="http://schemas.openxmlformats.org/officeDocument/2006/relationships/tags" Target="../tags/tag7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4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Прямоугольник 2"/>
          <p:cNvSpPr>
            <a:spLocks noChangeArrowheads="1"/>
          </p:cNvSpPr>
          <p:nvPr/>
        </p:nvSpPr>
        <p:spPr bwMode="auto">
          <a:xfrm>
            <a:off x="3132138" y="2276475"/>
            <a:ext cx="5819775" cy="312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buFont typeface="Arial" pitchFamily="34" charset="0"/>
              <a:buNone/>
            </a:pPr>
            <a:r>
              <a:rPr lang="ru-RU" sz="2800" b="1">
                <a:latin typeface="Times New Roman" pitchFamily="18" charset="0"/>
                <a:cs typeface="Times New Roman" pitchFamily="18" charset="0"/>
              </a:rPr>
              <a:t>Сводный доклад </a:t>
            </a:r>
          </a:p>
          <a:p>
            <a:pPr algn="ctr" eaLnBrk="0" hangingPunct="0">
              <a:buFont typeface="Arial" pitchFamily="34" charset="0"/>
              <a:buNone/>
            </a:pPr>
            <a:r>
              <a:rPr lang="ru-RU" sz="2800" b="1">
                <a:latin typeface="Times New Roman" pitchFamily="18" charset="0"/>
                <a:cs typeface="Times New Roman" pitchFamily="18" charset="0"/>
              </a:rPr>
              <a:t>о результатах мониторинга </a:t>
            </a:r>
          </a:p>
          <a:p>
            <a:pPr algn="ctr" eaLnBrk="0" hangingPunct="0">
              <a:buFont typeface="Arial" pitchFamily="34" charset="0"/>
              <a:buNone/>
            </a:pPr>
            <a:r>
              <a:rPr lang="ru-RU" sz="2800" b="1">
                <a:latin typeface="Times New Roman" pitchFamily="18" charset="0"/>
                <a:cs typeface="Times New Roman" pitchFamily="18" charset="0"/>
              </a:rPr>
              <a:t>и оценки эффективности деятельности органов местного самоуправления </a:t>
            </a:r>
          </a:p>
          <a:p>
            <a:pPr algn="ctr" eaLnBrk="0" hangingPunct="0">
              <a:buFont typeface="Arial" pitchFamily="34" charset="0"/>
              <a:buNone/>
            </a:pPr>
            <a:r>
              <a:rPr lang="ru-RU" sz="2800" b="1">
                <a:latin typeface="Times New Roman" pitchFamily="18" charset="0"/>
                <a:cs typeface="Times New Roman" pitchFamily="18" charset="0"/>
              </a:rPr>
              <a:t>по итогам 2020 года</a:t>
            </a:r>
            <a:endParaRPr lang="en-US" sz="2800" b="1"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</a:pPr>
            <a:endParaRPr lang="ru-RU" sz="2400" b="1">
              <a:latin typeface="Calibri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2875" y="571500"/>
            <a:ext cx="7358063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8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ea typeface="Arial Cyr"/>
                <a:cs typeface="Times New Roman" pitchFamily="18" charset="0"/>
              </a:rPr>
              <a:t>ЧУКОТСКИЙ АВТОНОМНЫЙ ОКРУГ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14340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14338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38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342" name="Прямоугольник 6"/>
          <p:cNvSpPr>
            <a:spLocks noChangeArrowheads="1"/>
          </p:cNvSpPr>
          <p:nvPr/>
        </p:nvSpPr>
        <p:spPr bwMode="auto">
          <a:xfrm>
            <a:off x="142875" y="785813"/>
            <a:ext cx="8858250" cy="550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ЭНЕРГОСБЕРЕЖЕНИЕ И ПОВЫШЕНИЕ ЭНЕРГЕТИЧЕСКОЙ ЭФФЕКТИВНОСТИ</a:t>
            </a:r>
          </a:p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b="1" u="sng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года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 сравнении с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ом в многоквартирных домах удельная величина потребления: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- электрической энергии не изменилась во всех муниципальных образованиях округа, в ГО Анадырь отмечен рост н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68 % (рост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объемов потребления электрических ресурсов в  2020 году связан с погодными условиями (экстремально низкая температура зимой), с хозяйственно-бытовыми нуждам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аселения)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епловой  энергии выросла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ровиденском ГО на 32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%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ГО Анадырь снизилась на 27 %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горячей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оды –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без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значительных изменений, в ГО Анадырь и Провиденском ГО снизилась на 12 %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холодной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оды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– без значительных изменений, за исключением Чукотского МР, где потребление снизилось на 35 %.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а в сравнении с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ом удельная величина потребления энергетических ресурсов муниципальными бюджетными учреждениями изменилась следующим образом: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отребление электрической энергии н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4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% выросло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ровиденском ГО,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низилось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Чукотско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Р и ГО Анадырь на 14 и 22 % соответственно,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 остальных МО значительных колебаний не отмечено;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5 раз увеличилось потребление тепловой энергии в Билибинском МР, в городских округах Певек, Эгвекинот и Провиденском ГО снизилось на 60, 40 и 19 % соответственно;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а 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% снизилось потребление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рячей воды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родских округах Певек, Эгвекинот, Провиденском ГО и Анадырском МР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на 75 % - в Билибинском МР, на 51 % - в Чукотском, в ГО Анадырь отмечен рост на 21 %. 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тмечено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нижение потребления холодной вод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о всех муниципальных образованиях округа, за исключением Провиденского ГО, где потребление выросло на 43 %.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овлетворенность населения деятельностью органов местного самоуправления городского округа (муниципального района</a:t>
            </a:r>
            <a:r>
              <a:rPr lang="ru-RU" sz="2000" b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096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096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7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61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35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49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292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65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4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2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0" y="142875"/>
            <a:ext cx="9144000" cy="439738"/>
          </a:xfrm>
        </p:spPr>
        <p:txBody>
          <a:bodyPr/>
          <a:lstStyle/>
          <a:p>
            <a:pPr eaLnBrk="1" hangingPunct="1"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годовая численность населения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тыс. человек)</a:t>
            </a: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365" name="TextBox 7"/>
          <p:cNvSpPr txBox="1">
            <a:spLocks noChangeArrowheads="1"/>
          </p:cNvSpPr>
          <p:nvPr/>
        </p:nvSpPr>
        <p:spPr bwMode="auto">
          <a:xfrm>
            <a:off x="1857375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5366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71500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-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2928938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 Чукотский – 99 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428625" y="142875"/>
            <a:ext cx="8215313" cy="571500"/>
          </a:xfrm>
        </p:spPr>
        <p:txBody>
          <a:bodyPr/>
          <a:lstStyle/>
          <a:p>
            <a:pPr eaLnBrk="1" hangingPunct="1"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Число субъектов малого и среднего предпринимательства</a:t>
            </a:r>
            <a:b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в расчете на 10 тыс. человек населения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ед.)</a:t>
            </a: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389" name="TextBox 7"/>
          <p:cNvSpPr txBox="1">
            <a:spLocks noChangeArrowheads="1"/>
          </p:cNvSpPr>
          <p:nvPr/>
        </p:nvSpPr>
        <p:spPr bwMode="auto">
          <a:xfrm>
            <a:off x="1928813" y="4357688"/>
            <a:ext cx="171608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6390" name="TextBox 8"/>
          <p:cNvSpPr txBox="1">
            <a:spLocks noChangeArrowheads="1"/>
          </p:cNvSpPr>
          <p:nvPr/>
        </p:nvSpPr>
        <p:spPr bwMode="auto">
          <a:xfrm>
            <a:off x="6286500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71500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1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-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2928938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3,8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103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142875"/>
            <a:ext cx="8858250" cy="571500"/>
          </a:xfrm>
        </p:spPr>
        <p:txBody>
          <a:bodyPr/>
          <a:lstStyle/>
          <a:p>
            <a:pPr>
              <a:defRPr/>
            </a:pPr>
            <a:r>
              <a:rPr lang="ru-RU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</a:t>
            </a:r>
            <a:br>
              <a:rPr lang="ru-RU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сех предприятий и организаций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413" name="TextBox 7"/>
          <p:cNvSpPr txBox="1">
            <a:spLocks noChangeArrowheads="1"/>
          </p:cNvSpPr>
          <p:nvPr/>
        </p:nvSpPr>
        <p:spPr bwMode="auto">
          <a:xfrm>
            <a:off x="1857375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7414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71500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100 %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- 9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100 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2928938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Анадырский – 101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Билибинский – 100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Чукотский – 100 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142875"/>
            <a:ext cx="8858250" cy="571500"/>
          </a:xfrm>
        </p:spPr>
        <p:txBody>
          <a:bodyPr/>
          <a:lstStyle/>
          <a:p>
            <a:pPr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бъём инвестиций в основной капитал в расчёте на одного жителя</a:t>
            </a:r>
            <a:b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(за исключением бюджетных средств)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рублей)</a:t>
            </a:r>
            <a:endParaRPr lang="ru-RU" sz="21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437" name="TextBox 7"/>
          <p:cNvSpPr txBox="1">
            <a:spLocks noChangeArrowheads="1"/>
          </p:cNvSpPr>
          <p:nvPr/>
        </p:nvSpPr>
        <p:spPr bwMode="auto">
          <a:xfrm>
            <a:off x="1857375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8438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71500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7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2928938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u="sng" dirty="0" smtClean="0">
                <a:latin typeface="Times New Roman" pitchFamily="18" charset="0"/>
                <a:cs typeface="Times New Roman" pitchFamily="18" charset="0"/>
              </a:rPr>
              <a:t>в 28 раз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53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крупных и средних предприятий и некоммерческих организаций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461" name="TextBox 7"/>
          <p:cNvSpPr txBox="1">
            <a:spLocks noChangeArrowheads="1"/>
          </p:cNvSpPr>
          <p:nvPr/>
        </p:nvSpPr>
        <p:spPr bwMode="auto">
          <a:xfrm>
            <a:off x="1785938" y="4357688"/>
            <a:ext cx="171608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9462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85750" y="4857750"/>
            <a:ext cx="4000500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8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3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5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47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0" y="4857750"/>
            <a:ext cx="4286250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1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9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9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42844" y="2285992"/>
            <a:ext cx="8643937" cy="158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70" name="TextBox 21"/>
          <p:cNvSpPr txBox="1">
            <a:spLocks noChangeArrowheads="1"/>
          </p:cNvSpPr>
          <p:nvPr/>
        </p:nvSpPr>
        <p:spPr bwMode="auto">
          <a:xfrm>
            <a:off x="3571875" y="5995988"/>
            <a:ext cx="54292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о полному кругу организаций Чукотского АО: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год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0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000375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дошкольных образовательных учреждений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3"/>
          <p:cNvGraphicFramePr>
            <a:graphicFrameLocks noGrp="1"/>
          </p:cNvGraphicFramePr>
          <p:nvPr>
            <p:ph idx="1"/>
          </p:nvPr>
        </p:nvGraphicFramePr>
        <p:xfrm>
          <a:off x="134675" y="785794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487" name="TextBox 7"/>
          <p:cNvSpPr txBox="1">
            <a:spLocks noChangeArrowheads="1"/>
          </p:cNvSpPr>
          <p:nvPr/>
        </p:nvSpPr>
        <p:spPr bwMode="auto">
          <a:xfrm>
            <a:off x="1857375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0488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85750" y="4857750"/>
            <a:ext cx="4071938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6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7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3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4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0" y="4857750"/>
            <a:ext cx="4286250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6,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3,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79,6 тыс. руб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494" name="TextBox 21"/>
          <p:cNvSpPr txBox="1">
            <a:spLocks noChangeArrowheads="1"/>
          </p:cNvSpPr>
          <p:nvPr/>
        </p:nvSpPr>
        <p:spPr bwMode="auto">
          <a:xfrm>
            <a:off x="3571875" y="5995988"/>
            <a:ext cx="54292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бщего образования по Чукотскому АО: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год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– 92,8 тыс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рублей</a:t>
            </a: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000375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42844" y="1571612"/>
            <a:ext cx="8643937" cy="1588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общеобразовательных учреждений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1509" name="TextBox 7"/>
          <p:cNvSpPr txBox="1">
            <a:spLocks noChangeArrowheads="1"/>
          </p:cNvSpPr>
          <p:nvPr/>
        </p:nvSpPr>
        <p:spPr bwMode="auto">
          <a:xfrm>
            <a:off x="1928813" y="4286250"/>
            <a:ext cx="171608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1510" name="TextBox 8"/>
          <p:cNvSpPr txBox="1">
            <a:spLocks noChangeArrowheads="1"/>
          </p:cNvSpPr>
          <p:nvPr/>
        </p:nvSpPr>
        <p:spPr bwMode="auto">
          <a:xfrm>
            <a:off x="6215063" y="4286250"/>
            <a:ext cx="23526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43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3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3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7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00563" y="4857750"/>
            <a:ext cx="4214812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6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1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3,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516" name="TextBox 21"/>
          <p:cNvSpPr txBox="1">
            <a:spLocks noChangeArrowheads="1"/>
          </p:cNvSpPr>
          <p:nvPr/>
        </p:nvSpPr>
        <p:spPr bwMode="auto">
          <a:xfrm>
            <a:off x="3571875" y="5995988"/>
            <a:ext cx="54292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бщего образования по Чукотскому АО: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0 год – 92,8 тыс. рублей</a:t>
            </a: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000375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</a:t>
            </a: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ботников учителей </a:t>
            </a: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униципальных общеобразовательных учреждений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533" name="TextBox 7"/>
          <p:cNvSpPr txBox="1">
            <a:spLocks noChangeArrowheads="1"/>
          </p:cNvSpPr>
          <p:nvPr/>
        </p:nvSpPr>
        <p:spPr bwMode="auto">
          <a:xfrm>
            <a:off x="1928813" y="4429125"/>
            <a:ext cx="171608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2534" name="TextBox 8"/>
          <p:cNvSpPr txBox="1">
            <a:spLocks noChangeArrowheads="1"/>
          </p:cNvSpPr>
          <p:nvPr/>
        </p:nvSpPr>
        <p:spPr bwMode="auto">
          <a:xfrm>
            <a:off x="6357938" y="4429125"/>
            <a:ext cx="23526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43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0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3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5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00563" y="4857750"/>
            <a:ext cx="4214812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2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3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5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540" name="TextBox 21"/>
          <p:cNvSpPr txBox="1">
            <a:spLocks noChangeArrowheads="1"/>
          </p:cNvSpPr>
          <p:nvPr/>
        </p:nvSpPr>
        <p:spPr bwMode="auto">
          <a:xfrm>
            <a:off x="3357563" y="5995988"/>
            <a:ext cx="5786437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реднемесячный доход по Чукотскому АО: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год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6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ублей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2786063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2052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2050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863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ведение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4313" y="857250"/>
            <a:ext cx="8701087" cy="60483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dirty="0"/>
              <a:t>	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Мониторинг эффективности деятельности органов местного самоуправления Чукотского автономного округа осуществляется в соответствии со следующими нормативными правовыми актами: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- Указом Президента Российской Федерации от 28 апреля 2008 года № 607 «Об оценке эффективности деятельности органов местного самоуправления городских округов и муниципальных районов»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- Постановлением Правительства РФ от 17 декабря 2012 г. № 1317 «О мерах по реализации Указа Президента Российской Федерации от 28 апреля 2008 г. № 607 «Об оценке эффективности деятельности органов местного самоуправления городских округов и муниципальных районов» и подпункта «и» пункта 2 Указа Президента Российской Федерации от 7 мая 2012 г. № 601 «Об основных направлениях совершенствования системы государственного управления»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на основании следующих исходных данных: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- Докладов Глав местных администраций городских округов и муниципальных районов Чукотского автономного округа по итогам отчётного года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- официальной статистической информации Управления Федеральной службы государственной статистики по Хабаровскому краю, Магаданской области, Еврейской автономной области и Чукотскому автономному округу.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Комплексная оценка проводится по всем муниципальным образованиям (4 городских округа и 3 муниципальных района), но сравнение проходит только между муниципальными районами и городскими округами, за исключением городского округа Анадырь, т.к. его статус столицы, незначительная площадь, отсутствие удаленных сельских поселений в его составе, отсутствие сельскохозяйственных предприятий и иные параметры, значения по которым легли в основу комплексной оценки, не позволяет проводить сравнение корректно.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В Докладе приводятся диаграммы по показателям, значения которых отражают изменения социально экономического развития по каждому муниципальному образованию в сравнении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ом.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водный Доклад размещен на официальном сайте Правительства Чукотского автономного округа: </a:t>
            </a:r>
            <a:r>
              <a:rPr lang="ru-RU" sz="1300" u="sng" dirty="0" err="1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Чукотка.рф</a:t>
            </a:r>
            <a:endParaRPr lang="ru-RU" sz="1300" u="sng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endParaRPr lang="ru-RU" b="1" dirty="0"/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dirty="0"/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dirty="0"/>
              <a:t> 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 учреждений культуры и искусства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557" name="TextBox 7"/>
          <p:cNvSpPr txBox="1">
            <a:spLocks noChangeArrowheads="1"/>
          </p:cNvSpPr>
          <p:nvPr/>
        </p:nvSpPr>
        <p:spPr bwMode="auto">
          <a:xfrm>
            <a:off x="1857375" y="4429125"/>
            <a:ext cx="171608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3558" name="TextBox 8"/>
          <p:cNvSpPr txBox="1">
            <a:spLocks noChangeArrowheads="1"/>
          </p:cNvSpPr>
          <p:nvPr/>
        </p:nvSpPr>
        <p:spPr bwMode="auto">
          <a:xfrm>
            <a:off x="6215063" y="4429125"/>
            <a:ext cx="23526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43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8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5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2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00563" y="4857750"/>
            <a:ext cx="4214812" cy="1816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9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7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6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564" name="TextBox 21"/>
          <p:cNvSpPr txBox="1">
            <a:spLocks noChangeArrowheads="1"/>
          </p:cNvSpPr>
          <p:nvPr/>
        </p:nvSpPr>
        <p:spPr bwMode="auto">
          <a:xfrm>
            <a:off x="3571875" y="5995988"/>
            <a:ext cx="54292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 целом по учреждениям культуры Чукотского АО: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год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ублей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000375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 учреждений физической культуры и спорта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581" name="TextBox 7"/>
          <p:cNvSpPr txBox="1">
            <a:spLocks noChangeArrowheads="1"/>
          </p:cNvSpPr>
          <p:nvPr/>
        </p:nvSpPr>
        <p:spPr bwMode="auto">
          <a:xfrm>
            <a:off x="1928813" y="4357688"/>
            <a:ext cx="171608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4582" name="TextBox 8"/>
          <p:cNvSpPr txBox="1">
            <a:spLocks noChangeArrowheads="1"/>
          </p:cNvSpPr>
          <p:nvPr/>
        </p:nvSpPr>
        <p:spPr bwMode="auto">
          <a:xfrm>
            <a:off x="5143500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4313" y="4857750"/>
            <a:ext cx="4143375" cy="107721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5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8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00563" y="4857750"/>
            <a:ext cx="4214812" cy="20621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5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2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6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586" name="TextBox 21"/>
          <p:cNvSpPr txBox="1">
            <a:spLocks noChangeArrowheads="1"/>
          </p:cNvSpPr>
          <p:nvPr/>
        </p:nvSpPr>
        <p:spPr bwMode="auto">
          <a:xfrm>
            <a:off x="142875" y="6143625"/>
            <a:ext cx="871537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>
                <a:latin typeface="Times New Roman" pitchFamily="18" charset="0"/>
                <a:cs typeface="Times New Roman" pitchFamily="18" charset="0"/>
              </a:rPr>
              <a:t>*в городских округах Анадырь и Певек отсутствуют муниципальные учреждения физической культуры и спорта</a:t>
            </a:r>
          </a:p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детей в возрасте 1 - 6 лет, получающих дошкольную образовательную услугу и (или) услугу по их содержанию в муниципальных образовательных учреждениях в общей численности детей в возрасте 1 - 6 лет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60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560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5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1816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10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детей в возрасте 1-6 лет, стоящих на учете для определения </a:t>
            </a:r>
            <a:b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 муниципальные дошкольные образовательные учреждения, </a:t>
            </a:r>
            <a:b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 общей численности детей в возрасте 1-6 лет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662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663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выпускников муниципальных общеобразовательных учреждений, не получивших аттестат о среднем (полном) образовании, в общей численности выпускников муниципальных общеобразовательных учреждений</a:t>
            </a:r>
            <a:r>
              <a:rPr lang="ru-RU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65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765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0 %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0 % 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0 % (-1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7 п.п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детей первой и второй групп здоровья в общей численности обучающихся в муниципальных общеобразовательных учреждениях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867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867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85 % 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2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4 % (+ 18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ходы бюджета муниципального образования на общее образование в расчете на 1 обучающегося в муниципальных общеобразовательных учреждениях </a:t>
            </a:r>
            <a:r>
              <a:rPr lang="ru-RU" sz="1900" dirty="0" smtClean="0">
                <a:latin typeface="Times New Roman" pitchFamily="18" charset="0"/>
                <a:cs typeface="Times New Roman" pitchFamily="18" charset="0"/>
              </a:rPr>
              <a:t>(тыс. руб.) </a:t>
            </a:r>
            <a:endParaRPr lang="ru-RU" sz="19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701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9702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75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68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24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74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5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06210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07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уб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37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45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28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детей в возрасте 5 - 18 лет, получающих услуги по дополнительному образованию в организациях различной организационно-правовой формы и формы собственности, в общей численности детей данной возрастной группы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072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072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4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7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0621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населения, систематически занимающегося </a:t>
            </a:r>
            <a:b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физической культурой и спортом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1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74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175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6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1 п.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308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51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–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40 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– 3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обучающихся, систематически занимающихся физической культурой и спортом, в общей численности обучающихся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1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77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277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 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308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3 п.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7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1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752600" y="3659188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3076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387725" y="3224213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3074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r:id="rId11" imgW="0" imgH="0" progId="">
              <p:embed/>
            </p:oleObj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214313" y="1000125"/>
            <a:ext cx="8715375" cy="20923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dirty="0"/>
              <a:t>	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/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9" name="Freeform 10"/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3143250" y="1500188"/>
            <a:ext cx="1293813" cy="1522412"/>
          </a:xfrm>
          <a:custGeom>
            <a:avLst/>
            <a:gdLst>
              <a:gd name="T0" fmla="*/ 2147483647 w 815"/>
              <a:gd name="T1" fmla="*/ 2147483647 h 953"/>
              <a:gd name="T2" fmla="*/ 2147483647 w 815"/>
              <a:gd name="T3" fmla="*/ 2147483647 h 953"/>
              <a:gd name="T4" fmla="*/ 2147483647 w 815"/>
              <a:gd name="T5" fmla="*/ 2147483647 h 953"/>
              <a:gd name="T6" fmla="*/ 2147483647 w 815"/>
              <a:gd name="T7" fmla="*/ 2147483647 h 953"/>
              <a:gd name="T8" fmla="*/ 2147483647 w 815"/>
              <a:gd name="T9" fmla="*/ 2147483647 h 953"/>
              <a:gd name="T10" fmla="*/ 2147483647 w 815"/>
              <a:gd name="T11" fmla="*/ 2147483647 h 953"/>
              <a:gd name="T12" fmla="*/ 2147483647 w 815"/>
              <a:gd name="T13" fmla="*/ 2147483647 h 953"/>
              <a:gd name="T14" fmla="*/ 2147483647 w 815"/>
              <a:gd name="T15" fmla="*/ 2147483647 h 953"/>
              <a:gd name="T16" fmla="*/ 2147483647 w 815"/>
              <a:gd name="T17" fmla="*/ 2147483647 h 953"/>
              <a:gd name="T18" fmla="*/ 2147483647 w 815"/>
              <a:gd name="T19" fmla="*/ 2147483647 h 953"/>
              <a:gd name="T20" fmla="*/ 2147483647 w 815"/>
              <a:gd name="T21" fmla="*/ 2147483647 h 953"/>
              <a:gd name="T22" fmla="*/ 2147483647 w 815"/>
              <a:gd name="T23" fmla="*/ 2147483647 h 953"/>
              <a:gd name="T24" fmla="*/ 2147483647 w 815"/>
              <a:gd name="T25" fmla="*/ 2147483647 h 953"/>
              <a:gd name="T26" fmla="*/ 2147483647 w 815"/>
              <a:gd name="T27" fmla="*/ 2147483647 h 953"/>
              <a:gd name="T28" fmla="*/ 2147483647 w 815"/>
              <a:gd name="T29" fmla="*/ 2147483647 h 953"/>
              <a:gd name="T30" fmla="*/ 2147483647 w 815"/>
              <a:gd name="T31" fmla="*/ 2147483647 h 953"/>
              <a:gd name="T32" fmla="*/ 2147483647 w 815"/>
              <a:gd name="T33" fmla="*/ 2147483647 h 953"/>
              <a:gd name="T34" fmla="*/ 2147483647 w 815"/>
              <a:gd name="T35" fmla="*/ 2147483647 h 953"/>
              <a:gd name="T36" fmla="*/ 2147483647 w 815"/>
              <a:gd name="T37" fmla="*/ 2147483647 h 953"/>
              <a:gd name="T38" fmla="*/ 2147483647 w 815"/>
              <a:gd name="T39" fmla="*/ 2147483647 h 953"/>
              <a:gd name="T40" fmla="*/ 2147483647 w 815"/>
              <a:gd name="T41" fmla="*/ 2147483647 h 953"/>
              <a:gd name="T42" fmla="*/ 2147483647 w 815"/>
              <a:gd name="T43" fmla="*/ 2147483647 h 953"/>
              <a:gd name="T44" fmla="*/ 2147483647 w 815"/>
              <a:gd name="T45" fmla="*/ 2147483647 h 953"/>
              <a:gd name="T46" fmla="*/ 2147483647 w 815"/>
              <a:gd name="T47" fmla="*/ 2147483647 h 953"/>
              <a:gd name="T48" fmla="*/ 2147483647 w 815"/>
              <a:gd name="T49" fmla="*/ 2147483647 h 953"/>
              <a:gd name="T50" fmla="*/ 2147483647 w 815"/>
              <a:gd name="T51" fmla="*/ 2147483647 h 953"/>
              <a:gd name="T52" fmla="*/ 2147483647 w 815"/>
              <a:gd name="T53" fmla="*/ 2147483647 h 953"/>
              <a:gd name="T54" fmla="*/ 2147483647 w 815"/>
              <a:gd name="T55" fmla="*/ 2147483647 h 953"/>
              <a:gd name="T56" fmla="*/ 2147483647 w 815"/>
              <a:gd name="T57" fmla="*/ 2147483647 h 953"/>
              <a:gd name="T58" fmla="*/ 2147483647 w 815"/>
              <a:gd name="T59" fmla="*/ 2147483647 h 953"/>
              <a:gd name="T60" fmla="*/ 2147483647 w 815"/>
              <a:gd name="T61" fmla="*/ 2147483647 h 953"/>
              <a:gd name="T62" fmla="*/ 2147483647 w 815"/>
              <a:gd name="T63" fmla="*/ 2147483647 h 953"/>
              <a:gd name="T64" fmla="*/ 2147483647 w 815"/>
              <a:gd name="T65" fmla="*/ 2147483647 h 953"/>
              <a:gd name="T66" fmla="*/ 2147483647 w 815"/>
              <a:gd name="T67" fmla="*/ 2147483647 h 953"/>
              <a:gd name="T68" fmla="*/ 2147483647 w 815"/>
              <a:gd name="T69" fmla="*/ 2147483647 h 953"/>
              <a:gd name="T70" fmla="*/ 2147483647 w 815"/>
              <a:gd name="T71" fmla="*/ 2147483647 h 953"/>
              <a:gd name="T72" fmla="*/ 2147483647 w 815"/>
              <a:gd name="T73" fmla="*/ 2147483647 h 953"/>
              <a:gd name="T74" fmla="*/ 2147483647 w 815"/>
              <a:gd name="T75" fmla="*/ 2147483647 h 953"/>
              <a:gd name="T76" fmla="*/ 2147483647 w 815"/>
              <a:gd name="T77" fmla="*/ 2147483647 h 953"/>
              <a:gd name="T78" fmla="*/ 2147483647 w 815"/>
              <a:gd name="T79" fmla="*/ 2147483647 h 953"/>
              <a:gd name="T80" fmla="*/ 2147483647 w 815"/>
              <a:gd name="T81" fmla="*/ 2147483647 h 953"/>
              <a:gd name="T82" fmla="*/ 2147483647 w 815"/>
              <a:gd name="T83" fmla="*/ 2147483647 h 953"/>
              <a:gd name="T84" fmla="*/ 2147483647 w 815"/>
              <a:gd name="T85" fmla="*/ 2147483647 h 953"/>
              <a:gd name="T86" fmla="*/ 2147483647 w 815"/>
              <a:gd name="T87" fmla="*/ 2147483647 h 953"/>
              <a:gd name="T88" fmla="*/ 2147483647 w 815"/>
              <a:gd name="T89" fmla="*/ 2147483647 h 953"/>
              <a:gd name="T90" fmla="*/ 2147483647 w 815"/>
              <a:gd name="T91" fmla="*/ 2147483647 h 953"/>
              <a:gd name="T92" fmla="*/ 2147483647 w 815"/>
              <a:gd name="T93" fmla="*/ 2147483647 h 953"/>
              <a:gd name="T94" fmla="*/ 2147483647 w 815"/>
              <a:gd name="T95" fmla="*/ 2147483647 h 953"/>
              <a:gd name="T96" fmla="*/ 2147483647 w 815"/>
              <a:gd name="T97" fmla="*/ 2147483647 h 953"/>
              <a:gd name="T98" fmla="*/ 2147483647 w 815"/>
              <a:gd name="T99" fmla="*/ 2147483647 h 953"/>
              <a:gd name="T100" fmla="*/ 2147483647 w 815"/>
              <a:gd name="T101" fmla="*/ 2147483647 h 953"/>
              <a:gd name="T102" fmla="*/ 2147483647 w 815"/>
              <a:gd name="T103" fmla="*/ 2147483647 h 953"/>
              <a:gd name="T104" fmla="*/ 2147483647 w 815"/>
              <a:gd name="T105" fmla="*/ 2147483647 h 953"/>
              <a:gd name="T106" fmla="*/ 2147483647 w 815"/>
              <a:gd name="T107" fmla="*/ 2147483647 h 953"/>
              <a:gd name="T108" fmla="*/ 2147483647 w 815"/>
              <a:gd name="T109" fmla="*/ 2147483647 h 95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15"/>
              <a:gd name="T166" fmla="*/ 0 h 953"/>
              <a:gd name="T167" fmla="*/ 815 w 815"/>
              <a:gd name="T168" fmla="*/ 953 h 95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15" h="953">
                <a:moveTo>
                  <a:pt x="20" y="197"/>
                </a:moveTo>
                <a:lnTo>
                  <a:pt x="31" y="185"/>
                </a:lnTo>
                <a:lnTo>
                  <a:pt x="42" y="172"/>
                </a:lnTo>
                <a:lnTo>
                  <a:pt x="52" y="158"/>
                </a:lnTo>
                <a:lnTo>
                  <a:pt x="64" y="143"/>
                </a:lnTo>
                <a:lnTo>
                  <a:pt x="66" y="138"/>
                </a:lnTo>
                <a:lnTo>
                  <a:pt x="69" y="133"/>
                </a:lnTo>
                <a:lnTo>
                  <a:pt x="73" y="131"/>
                </a:lnTo>
                <a:lnTo>
                  <a:pt x="76" y="129"/>
                </a:lnTo>
                <a:lnTo>
                  <a:pt x="79" y="129"/>
                </a:lnTo>
                <a:lnTo>
                  <a:pt x="83" y="129"/>
                </a:lnTo>
                <a:lnTo>
                  <a:pt x="86" y="131"/>
                </a:lnTo>
                <a:lnTo>
                  <a:pt x="91" y="135"/>
                </a:lnTo>
                <a:lnTo>
                  <a:pt x="98" y="141"/>
                </a:lnTo>
                <a:lnTo>
                  <a:pt x="105" y="148"/>
                </a:lnTo>
                <a:lnTo>
                  <a:pt x="111" y="150"/>
                </a:lnTo>
                <a:lnTo>
                  <a:pt x="118" y="151"/>
                </a:lnTo>
                <a:lnTo>
                  <a:pt x="118" y="155"/>
                </a:lnTo>
                <a:lnTo>
                  <a:pt x="118" y="160"/>
                </a:lnTo>
                <a:lnTo>
                  <a:pt x="110" y="163"/>
                </a:lnTo>
                <a:lnTo>
                  <a:pt x="101" y="167"/>
                </a:lnTo>
                <a:lnTo>
                  <a:pt x="115" y="178"/>
                </a:lnTo>
                <a:lnTo>
                  <a:pt x="128" y="192"/>
                </a:lnTo>
                <a:lnTo>
                  <a:pt x="133" y="193"/>
                </a:lnTo>
                <a:lnTo>
                  <a:pt x="138" y="197"/>
                </a:lnTo>
                <a:lnTo>
                  <a:pt x="140" y="200"/>
                </a:lnTo>
                <a:lnTo>
                  <a:pt x="142" y="205"/>
                </a:lnTo>
                <a:lnTo>
                  <a:pt x="142" y="210"/>
                </a:lnTo>
                <a:lnTo>
                  <a:pt x="142" y="217"/>
                </a:lnTo>
                <a:lnTo>
                  <a:pt x="142" y="234"/>
                </a:lnTo>
                <a:lnTo>
                  <a:pt x="142" y="252"/>
                </a:lnTo>
                <a:lnTo>
                  <a:pt x="142" y="269"/>
                </a:lnTo>
                <a:lnTo>
                  <a:pt x="142" y="288"/>
                </a:lnTo>
                <a:lnTo>
                  <a:pt x="142" y="293"/>
                </a:lnTo>
                <a:lnTo>
                  <a:pt x="142" y="296"/>
                </a:lnTo>
                <a:lnTo>
                  <a:pt x="145" y="301"/>
                </a:lnTo>
                <a:lnTo>
                  <a:pt x="148" y="303"/>
                </a:lnTo>
                <a:lnTo>
                  <a:pt x="152" y="305"/>
                </a:lnTo>
                <a:lnTo>
                  <a:pt x="157" y="306"/>
                </a:lnTo>
                <a:lnTo>
                  <a:pt x="164" y="306"/>
                </a:lnTo>
                <a:lnTo>
                  <a:pt x="170" y="305"/>
                </a:lnTo>
                <a:lnTo>
                  <a:pt x="187" y="306"/>
                </a:lnTo>
                <a:lnTo>
                  <a:pt x="202" y="310"/>
                </a:lnTo>
                <a:lnTo>
                  <a:pt x="209" y="313"/>
                </a:lnTo>
                <a:lnTo>
                  <a:pt x="216" y="316"/>
                </a:lnTo>
                <a:lnTo>
                  <a:pt x="221" y="320"/>
                </a:lnTo>
                <a:lnTo>
                  <a:pt x="228" y="327"/>
                </a:lnTo>
                <a:lnTo>
                  <a:pt x="233" y="335"/>
                </a:lnTo>
                <a:lnTo>
                  <a:pt x="238" y="340"/>
                </a:lnTo>
                <a:lnTo>
                  <a:pt x="244" y="342"/>
                </a:lnTo>
                <a:lnTo>
                  <a:pt x="251" y="342"/>
                </a:lnTo>
                <a:lnTo>
                  <a:pt x="258" y="340"/>
                </a:lnTo>
                <a:lnTo>
                  <a:pt x="263" y="342"/>
                </a:lnTo>
                <a:lnTo>
                  <a:pt x="268" y="342"/>
                </a:lnTo>
                <a:lnTo>
                  <a:pt x="271" y="345"/>
                </a:lnTo>
                <a:lnTo>
                  <a:pt x="273" y="348"/>
                </a:lnTo>
                <a:lnTo>
                  <a:pt x="275" y="355"/>
                </a:lnTo>
                <a:lnTo>
                  <a:pt x="276" y="360"/>
                </a:lnTo>
                <a:lnTo>
                  <a:pt x="276" y="369"/>
                </a:lnTo>
                <a:lnTo>
                  <a:pt x="275" y="391"/>
                </a:lnTo>
                <a:lnTo>
                  <a:pt x="276" y="409"/>
                </a:lnTo>
                <a:lnTo>
                  <a:pt x="278" y="416"/>
                </a:lnTo>
                <a:lnTo>
                  <a:pt x="281" y="423"/>
                </a:lnTo>
                <a:lnTo>
                  <a:pt x="285" y="426"/>
                </a:lnTo>
                <a:lnTo>
                  <a:pt x="290" y="428"/>
                </a:lnTo>
                <a:lnTo>
                  <a:pt x="295" y="433"/>
                </a:lnTo>
                <a:lnTo>
                  <a:pt x="300" y="436"/>
                </a:lnTo>
                <a:lnTo>
                  <a:pt x="305" y="439"/>
                </a:lnTo>
                <a:lnTo>
                  <a:pt x="312" y="441"/>
                </a:lnTo>
                <a:lnTo>
                  <a:pt x="323" y="441"/>
                </a:lnTo>
                <a:lnTo>
                  <a:pt x="339" y="439"/>
                </a:lnTo>
                <a:lnTo>
                  <a:pt x="352" y="434"/>
                </a:lnTo>
                <a:lnTo>
                  <a:pt x="366" y="428"/>
                </a:lnTo>
                <a:lnTo>
                  <a:pt x="379" y="421"/>
                </a:lnTo>
                <a:lnTo>
                  <a:pt x="389" y="414"/>
                </a:lnTo>
                <a:lnTo>
                  <a:pt x="401" y="407"/>
                </a:lnTo>
                <a:lnTo>
                  <a:pt x="409" y="399"/>
                </a:lnTo>
                <a:lnTo>
                  <a:pt x="418" y="391"/>
                </a:lnTo>
                <a:lnTo>
                  <a:pt x="426" y="380"/>
                </a:lnTo>
                <a:lnTo>
                  <a:pt x="443" y="360"/>
                </a:lnTo>
                <a:lnTo>
                  <a:pt x="460" y="342"/>
                </a:lnTo>
                <a:lnTo>
                  <a:pt x="460" y="333"/>
                </a:lnTo>
                <a:lnTo>
                  <a:pt x="460" y="325"/>
                </a:lnTo>
                <a:lnTo>
                  <a:pt x="458" y="320"/>
                </a:lnTo>
                <a:lnTo>
                  <a:pt x="456" y="315"/>
                </a:lnTo>
                <a:lnTo>
                  <a:pt x="450" y="308"/>
                </a:lnTo>
                <a:lnTo>
                  <a:pt x="443" y="303"/>
                </a:lnTo>
                <a:lnTo>
                  <a:pt x="445" y="298"/>
                </a:lnTo>
                <a:lnTo>
                  <a:pt x="446" y="293"/>
                </a:lnTo>
                <a:lnTo>
                  <a:pt x="446" y="286"/>
                </a:lnTo>
                <a:lnTo>
                  <a:pt x="445" y="279"/>
                </a:lnTo>
                <a:lnTo>
                  <a:pt x="441" y="263"/>
                </a:lnTo>
                <a:lnTo>
                  <a:pt x="433" y="241"/>
                </a:lnTo>
                <a:lnTo>
                  <a:pt x="428" y="241"/>
                </a:lnTo>
                <a:lnTo>
                  <a:pt x="421" y="241"/>
                </a:lnTo>
                <a:lnTo>
                  <a:pt x="423" y="229"/>
                </a:lnTo>
                <a:lnTo>
                  <a:pt x="423" y="217"/>
                </a:lnTo>
                <a:lnTo>
                  <a:pt x="418" y="214"/>
                </a:lnTo>
                <a:lnTo>
                  <a:pt x="411" y="209"/>
                </a:lnTo>
                <a:lnTo>
                  <a:pt x="409" y="197"/>
                </a:lnTo>
                <a:lnTo>
                  <a:pt x="406" y="185"/>
                </a:lnTo>
                <a:lnTo>
                  <a:pt x="403" y="177"/>
                </a:lnTo>
                <a:lnTo>
                  <a:pt x="398" y="170"/>
                </a:lnTo>
                <a:lnTo>
                  <a:pt x="387" y="168"/>
                </a:lnTo>
                <a:lnTo>
                  <a:pt x="377" y="170"/>
                </a:lnTo>
                <a:lnTo>
                  <a:pt x="369" y="173"/>
                </a:lnTo>
                <a:lnTo>
                  <a:pt x="359" y="180"/>
                </a:lnTo>
                <a:lnTo>
                  <a:pt x="350" y="173"/>
                </a:lnTo>
                <a:lnTo>
                  <a:pt x="345" y="167"/>
                </a:lnTo>
                <a:lnTo>
                  <a:pt x="344" y="156"/>
                </a:lnTo>
                <a:lnTo>
                  <a:pt x="345" y="146"/>
                </a:lnTo>
                <a:lnTo>
                  <a:pt x="335" y="135"/>
                </a:lnTo>
                <a:lnTo>
                  <a:pt x="330" y="126"/>
                </a:lnTo>
                <a:lnTo>
                  <a:pt x="325" y="118"/>
                </a:lnTo>
                <a:lnTo>
                  <a:pt x="325" y="113"/>
                </a:lnTo>
                <a:lnTo>
                  <a:pt x="327" y="109"/>
                </a:lnTo>
                <a:lnTo>
                  <a:pt x="332" y="109"/>
                </a:lnTo>
                <a:lnTo>
                  <a:pt x="339" y="111"/>
                </a:lnTo>
                <a:lnTo>
                  <a:pt x="349" y="114"/>
                </a:lnTo>
                <a:lnTo>
                  <a:pt x="364" y="123"/>
                </a:lnTo>
                <a:lnTo>
                  <a:pt x="379" y="131"/>
                </a:lnTo>
                <a:lnTo>
                  <a:pt x="389" y="131"/>
                </a:lnTo>
                <a:lnTo>
                  <a:pt x="398" y="128"/>
                </a:lnTo>
                <a:lnTo>
                  <a:pt x="401" y="124"/>
                </a:lnTo>
                <a:lnTo>
                  <a:pt x="403" y="119"/>
                </a:lnTo>
                <a:lnTo>
                  <a:pt x="401" y="106"/>
                </a:lnTo>
                <a:lnTo>
                  <a:pt x="394" y="91"/>
                </a:lnTo>
                <a:lnTo>
                  <a:pt x="392" y="76"/>
                </a:lnTo>
                <a:lnTo>
                  <a:pt x="392" y="60"/>
                </a:lnTo>
                <a:lnTo>
                  <a:pt x="392" y="45"/>
                </a:lnTo>
                <a:lnTo>
                  <a:pt x="391" y="30"/>
                </a:lnTo>
                <a:lnTo>
                  <a:pt x="391" y="25"/>
                </a:lnTo>
                <a:lnTo>
                  <a:pt x="389" y="20"/>
                </a:lnTo>
                <a:lnTo>
                  <a:pt x="387" y="18"/>
                </a:lnTo>
                <a:lnTo>
                  <a:pt x="386" y="15"/>
                </a:lnTo>
                <a:lnTo>
                  <a:pt x="379" y="13"/>
                </a:lnTo>
                <a:lnTo>
                  <a:pt x="371" y="13"/>
                </a:lnTo>
                <a:lnTo>
                  <a:pt x="374" y="7"/>
                </a:lnTo>
                <a:lnTo>
                  <a:pt x="376" y="3"/>
                </a:lnTo>
                <a:lnTo>
                  <a:pt x="381" y="2"/>
                </a:lnTo>
                <a:lnTo>
                  <a:pt x="384" y="0"/>
                </a:lnTo>
                <a:lnTo>
                  <a:pt x="389" y="2"/>
                </a:lnTo>
                <a:lnTo>
                  <a:pt x="396" y="5"/>
                </a:lnTo>
                <a:lnTo>
                  <a:pt x="403" y="8"/>
                </a:lnTo>
                <a:lnTo>
                  <a:pt x="409" y="15"/>
                </a:lnTo>
                <a:lnTo>
                  <a:pt x="424" y="12"/>
                </a:lnTo>
                <a:lnTo>
                  <a:pt x="438" y="13"/>
                </a:lnTo>
                <a:lnTo>
                  <a:pt x="448" y="15"/>
                </a:lnTo>
                <a:lnTo>
                  <a:pt x="456" y="20"/>
                </a:lnTo>
                <a:lnTo>
                  <a:pt x="470" y="18"/>
                </a:lnTo>
                <a:lnTo>
                  <a:pt x="485" y="18"/>
                </a:lnTo>
                <a:lnTo>
                  <a:pt x="493" y="20"/>
                </a:lnTo>
                <a:lnTo>
                  <a:pt x="502" y="22"/>
                </a:lnTo>
                <a:lnTo>
                  <a:pt x="510" y="25"/>
                </a:lnTo>
                <a:lnTo>
                  <a:pt x="520" y="30"/>
                </a:lnTo>
                <a:lnTo>
                  <a:pt x="541" y="30"/>
                </a:lnTo>
                <a:lnTo>
                  <a:pt x="557" y="30"/>
                </a:lnTo>
                <a:lnTo>
                  <a:pt x="566" y="30"/>
                </a:lnTo>
                <a:lnTo>
                  <a:pt x="573" y="32"/>
                </a:lnTo>
                <a:lnTo>
                  <a:pt x="578" y="35"/>
                </a:lnTo>
                <a:lnTo>
                  <a:pt x="583" y="39"/>
                </a:lnTo>
                <a:lnTo>
                  <a:pt x="598" y="40"/>
                </a:lnTo>
                <a:lnTo>
                  <a:pt x="611" y="40"/>
                </a:lnTo>
                <a:lnTo>
                  <a:pt x="616" y="40"/>
                </a:lnTo>
                <a:lnTo>
                  <a:pt x="623" y="39"/>
                </a:lnTo>
                <a:lnTo>
                  <a:pt x="628" y="35"/>
                </a:lnTo>
                <a:lnTo>
                  <a:pt x="633" y="32"/>
                </a:lnTo>
                <a:lnTo>
                  <a:pt x="637" y="42"/>
                </a:lnTo>
                <a:lnTo>
                  <a:pt x="640" y="52"/>
                </a:lnTo>
                <a:lnTo>
                  <a:pt x="648" y="59"/>
                </a:lnTo>
                <a:lnTo>
                  <a:pt x="658" y="64"/>
                </a:lnTo>
                <a:lnTo>
                  <a:pt x="670" y="69"/>
                </a:lnTo>
                <a:lnTo>
                  <a:pt x="684" y="72"/>
                </a:lnTo>
                <a:lnTo>
                  <a:pt x="694" y="81"/>
                </a:lnTo>
                <a:lnTo>
                  <a:pt x="702" y="86"/>
                </a:lnTo>
                <a:lnTo>
                  <a:pt x="711" y="98"/>
                </a:lnTo>
                <a:lnTo>
                  <a:pt x="717" y="108"/>
                </a:lnTo>
                <a:lnTo>
                  <a:pt x="722" y="118"/>
                </a:lnTo>
                <a:lnTo>
                  <a:pt x="724" y="128"/>
                </a:lnTo>
                <a:lnTo>
                  <a:pt x="726" y="136"/>
                </a:lnTo>
                <a:lnTo>
                  <a:pt x="726" y="143"/>
                </a:lnTo>
                <a:lnTo>
                  <a:pt x="724" y="150"/>
                </a:lnTo>
                <a:lnTo>
                  <a:pt x="719" y="155"/>
                </a:lnTo>
                <a:lnTo>
                  <a:pt x="732" y="165"/>
                </a:lnTo>
                <a:lnTo>
                  <a:pt x="743" y="175"/>
                </a:lnTo>
                <a:lnTo>
                  <a:pt x="749" y="182"/>
                </a:lnTo>
                <a:lnTo>
                  <a:pt x="753" y="187"/>
                </a:lnTo>
                <a:lnTo>
                  <a:pt x="756" y="195"/>
                </a:lnTo>
                <a:lnTo>
                  <a:pt x="759" y="204"/>
                </a:lnTo>
                <a:lnTo>
                  <a:pt x="764" y="210"/>
                </a:lnTo>
                <a:lnTo>
                  <a:pt x="770" y="217"/>
                </a:lnTo>
                <a:lnTo>
                  <a:pt x="773" y="220"/>
                </a:lnTo>
                <a:lnTo>
                  <a:pt x="778" y="220"/>
                </a:lnTo>
                <a:lnTo>
                  <a:pt x="785" y="220"/>
                </a:lnTo>
                <a:lnTo>
                  <a:pt x="791" y="219"/>
                </a:lnTo>
                <a:lnTo>
                  <a:pt x="795" y="247"/>
                </a:lnTo>
                <a:lnTo>
                  <a:pt x="798" y="278"/>
                </a:lnTo>
                <a:lnTo>
                  <a:pt x="802" y="306"/>
                </a:lnTo>
                <a:lnTo>
                  <a:pt x="807" y="337"/>
                </a:lnTo>
                <a:lnTo>
                  <a:pt x="798" y="350"/>
                </a:lnTo>
                <a:lnTo>
                  <a:pt x="793" y="364"/>
                </a:lnTo>
                <a:lnTo>
                  <a:pt x="790" y="374"/>
                </a:lnTo>
                <a:lnTo>
                  <a:pt x="790" y="384"/>
                </a:lnTo>
                <a:lnTo>
                  <a:pt x="800" y="385"/>
                </a:lnTo>
                <a:lnTo>
                  <a:pt x="810" y="387"/>
                </a:lnTo>
                <a:lnTo>
                  <a:pt x="805" y="409"/>
                </a:lnTo>
                <a:lnTo>
                  <a:pt x="800" y="433"/>
                </a:lnTo>
                <a:lnTo>
                  <a:pt x="807" y="455"/>
                </a:lnTo>
                <a:lnTo>
                  <a:pt x="815" y="476"/>
                </a:lnTo>
                <a:lnTo>
                  <a:pt x="808" y="493"/>
                </a:lnTo>
                <a:lnTo>
                  <a:pt x="802" y="510"/>
                </a:lnTo>
                <a:lnTo>
                  <a:pt x="807" y="519"/>
                </a:lnTo>
                <a:lnTo>
                  <a:pt x="812" y="529"/>
                </a:lnTo>
                <a:lnTo>
                  <a:pt x="812" y="535"/>
                </a:lnTo>
                <a:lnTo>
                  <a:pt x="812" y="540"/>
                </a:lnTo>
                <a:lnTo>
                  <a:pt x="807" y="542"/>
                </a:lnTo>
                <a:lnTo>
                  <a:pt x="803" y="544"/>
                </a:lnTo>
                <a:lnTo>
                  <a:pt x="802" y="554"/>
                </a:lnTo>
                <a:lnTo>
                  <a:pt x="800" y="564"/>
                </a:lnTo>
                <a:lnTo>
                  <a:pt x="796" y="574"/>
                </a:lnTo>
                <a:lnTo>
                  <a:pt x="795" y="584"/>
                </a:lnTo>
                <a:lnTo>
                  <a:pt x="791" y="593"/>
                </a:lnTo>
                <a:lnTo>
                  <a:pt x="788" y="598"/>
                </a:lnTo>
                <a:lnTo>
                  <a:pt x="783" y="603"/>
                </a:lnTo>
                <a:lnTo>
                  <a:pt x="778" y="606"/>
                </a:lnTo>
                <a:lnTo>
                  <a:pt x="773" y="608"/>
                </a:lnTo>
                <a:lnTo>
                  <a:pt x="768" y="608"/>
                </a:lnTo>
                <a:lnTo>
                  <a:pt x="761" y="606"/>
                </a:lnTo>
                <a:lnTo>
                  <a:pt x="756" y="608"/>
                </a:lnTo>
                <a:lnTo>
                  <a:pt x="753" y="613"/>
                </a:lnTo>
                <a:lnTo>
                  <a:pt x="749" y="618"/>
                </a:lnTo>
                <a:lnTo>
                  <a:pt x="748" y="626"/>
                </a:lnTo>
                <a:lnTo>
                  <a:pt x="748" y="636"/>
                </a:lnTo>
                <a:lnTo>
                  <a:pt x="748" y="650"/>
                </a:lnTo>
                <a:lnTo>
                  <a:pt x="751" y="665"/>
                </a:lnTo>
                <a:lnTo>
                  <a:pt x="754" y="672"/>
                </a:lnTo>
                <a:lnTo>
                  <a:pt x="756" y="678"/>
                </a:lnTo>
                <a:lnTo>
                  <a:pt x="756" y="684"/>
                </a:lnTo>
                <a:lnTo>
                  <a:pt x="754" y="689"/>
                </a:lnTo>
                <a:lnTo>
                  <a:pt x="751" y="694"/>
                </a:lnTo>
                <a:lnTo>
                  <a:pt x="746" y="699"/>
                </a:lnTo>
                <a:lnTo>
                  <a:pt x="739" y="704"/>
                </a:lnTo>
                <a:lnTo>
                  <a:pt x="731" y="707"/>
                </a:lnTo>
                <a:lnTo>
                  <a:pt x="711" y="710"/>
                </a:lnTo>
                <a:lnTo>
                  <a:pt x="692" y="717"/>
                </a:lnTo>
                <a:lnTo>
                  <a:pt x="675" y="724"/>
                </a:lnTo>
                <a:lnTo>
                  <a:pt x="662" y="734"/>
                </a:lnTo>
                <a:lnTo>
                  <a:pt x="653" y="737"/>
                </a:lnTo>
                <a:lnTo>
                  <a:pt x="647" y="737"/>
                </a:lnTo>
                <a:lnTo>
                  <a:pt x="640" y="734"/>
                </a:lnTo>
                <a:lnTo>
                  <a:pt x="635" y="727"/>
                </a:lnTo>
                <a:lnTo>
                  <a:pt x="631" y="722"/>
                </a:lnTo>
                <a:lnTo>
                  <a:pt x="630" y="719"/>
                </a:lnTo>
                <a:lnTo>
                  <a:pt x="626" y="719"/>
                </a:lnTo>
                <a:lnTo>
                  <a:pt x="621" y="721"/>
                </a:lnTo>
                <a:lnTo>
                  <a:pt x="618" y="724"/>
                </a:lnTo>
                <a:lnTo>
                  <a:pt x="613" y="729"/>
                </a:lnTo>
                <a:lnTo>
                  <a:pt x="606" y="737"/>
                </a:lnTo>
                <a:lnTo>
                  <a:pt x="600" y="746"/>
                </a:lnTo>
                <a:lnTo>
                  <a:pt x="601" y="766"/>
                </a:lnTo>
                <a:lnTo>
                  <a:pt x="603" y="788"/>
                </a:lnTo>
                <a:lnTo>
                  <a:pt x="588" y="810"/>
                </a:lnTo>
                <a:lnTo>
                  <a:pt x="573" y="833"/>
                </a:lnTo>
                <a:lnTo>
                  <a:pt x="566" y="844"/>
                </a:lnTo>
                <a:lnTo>
                  <a:pt x="557" y="852"/>
                </a:lnTo>
                <a:lnTo>
                  <a:pt x="549" y="859"/>
                </a:lnTo>
                <a:lnTo>
                  <a:pt x="539" y="864"/>
                </a:lnTo>
                <a:lnTo>
                  <a:pt x="519" y="877"/>
                </a:lnTo>
                <a:lnTo>
                  <a:pt x="505" y="887"/>
                </a:lnTo>
                <a:lnTo>
                  <a:pt x="519" y="901"/>
                </a:lnTo>
                <a:lnTo>
                  <a:pt x="525" y="913"/>
                </a:lnTo>
                <a:lnTo>
                  <a:pt x="527" y="918"/>
                </a:lnTo>
                <a:lnTo>
                  <a:pt x="529" y="923"/>
                </a:lnTo>
                <a:lnTo>
                  <a:pt x="527" y="928"/>
                </a:lnTo>
                <a:lnTo>
                  <a:pt x="525" y="931"/>
                </a:lnTo>
                <a:lnTo>
                  <a:pt x="519" y="938"/>
                </a:lnTo>
                <a:lnTo>
                  <a:pt x="510" y="945"/>
                </a:lnTo>
                <a:lnTo>
                  <a:pt x="497" y="948"/>
                </a:lnTo>
                <a:lnTo>
                  <a:pt x="483" y="953"/>
                </a:lnTo>
                <a:lnTo>
                  <a:pt x="456" y="931"/>
                </a:lnTo>
                <a:lnTo>
                  <a:pt x="429" y="909"/>
                </a:lnTo>
                <a:lnTo>
                  <a:pt x="403" y="887"/>
                </a:lnTo>
                <a:lnTo>
                  <a:pt x="376" y="865"/>
                </a:lnTo>
                <a:lnTo>
                  <a:pt x="376" y="854"/>
                </a:lnTo>
                <a:lnTo>
                  <a:pt x="374" y="845"/>
                </a:lnTo>
                <a:lnTo>
                  <a:pt x="371" y="837"/>
                </a:lnTo>
                <a:lnTo>
                  <a:pt x="367" y="832"/>
                </a:lnTo>
                <a:lnTo>
                  <a:pt x="362" y="828"/>
                </a:lnTo>
                <a:lnTo>
                  <a:pt x="355" y="827"/>
                </a:lnTo>
                <a:lnTo>
                  <a:pt x="349" y="827"/>
                </a:lnTo>
                <a:lnTo>
                  <a:pt x="342" y="830"/>
                </a:lnTo>
                <a:lnTo>
                  <a:pt x="330" y="832"/>
                </a:lnTo>
                <a:lnTo>
                  <a:pt x="318" y="833"/>
                </a:lnTo>
                <a:lnTo>
                  <a:pt x="305" y="833"/>
                </a:lnTo>
                <a:lnTo>
                  <a:pt x="293" y="830"/>
                </a:lnTo>
                <a:lnTo>
                  <a:pt x="280" y="827"/>
                </a:lnTo>
                <a:lnTo>
                  <a:pt x="266" y="820"/>
                </a:lnTo>
                <a:lnTo>
                  <a:pt x="251" y="810"/>
                </a:lnTo>
                <a:lnTo>
                  <a:pt x="238" y="798"/>
                </a:lnTo>
                <a:lnTo>
                  <a:pt x="236" y="796"/>
                </a:lnTo>
                <a:lnTo>
                  <a:pt x="236" y="795"/>
                </a:lnTo>
                <a:lnTo>
                  <a:pt x="234" y="793"/>
                </a:lnTo>
                <a:lnTo>
                  <a:pt x="231" y="793"/>
                </a:lnTo>
                <a:lnTo>
                  <a:pt x="224" y="793"/>
                </a:lnTo>
                <a:lnTo>
                  <a:pt x="212" y="795"/>
                </a:lnTo>
                <a:lnTo>
                  <a:pt x="201" y="800"/>
                </a:lnTo>
                <a:lnTo>
                  <a:pt x="190" y="800"/>
                </a:lnTo>
                <a:lnTo>
                  <a:pt x="187" y="800"/>
                </a:lnTo>
                <a:lnTo>
                  <a:pt x="182" y="798"/>
                </a:lnTo>
                <a:lnTo>
                  <a:pt x="179" y="795"/>
                </a:lnTo>
                <a:lnTo>
                  <a:pt x="177" y="793"/>
                </a:lnTo>
                <a:lnTo>
                  <a:pt x="167" y="790"/>
                </a:lnTo>
                <a:lnTo>
                  <a:pt x="157" y="786"/>
                </a:lnTo>
                <a:lnTo>
                  <a:pt x="147" y="783"/>
                </a:lnTo>
                <a:lnTo>
                  <a:pt x="138" y="776"/>
                </a:lnTo>
                <a:lnTo>
                  <a:pt x="130" y="769"/>
                </a:lnTo>
                <a:lnTo>
                  <a:pt x="123" y="761"/>
                </a:lnTo>
                <a:lnTo>
                  <a:pt x="115" y="753"/>
                </a:lnTo>
                <a:lnTo>
                  <a:pt x="108" y="741"/>
                </a:lnTo>
                <a:lnTo>
                  <a:pt x="101" y="741"/>
                </a:lnTo>
                <a:lnTo>
                  <a:pt x="98" y="737"/>
                </a:lnTo>
                <a:lnTo>
                  <a:pt x="93" y="734"/>
                </a:lnTo>
                <a:lnTo>
                  <a:pt x="89" y="731"/>
                </a:lnTo>
                <a:lnTo>
                  <a:pt x="83" y="719"/>
                </a:lnTo>
                <a:lnTo>
                  <a:pt x="76" y="705"/>
                </a:lnTo>
                <a:lnTo>
                  <a:pt x="69" y="697"/>
                </a:lnTo>
                <a:lnTo>
                  <a:pt x="61" y="689"/>
                </a:lnTo>
                <a:lnTo>
                  <a:pt x="56" y="680"/>
                </a:lnTo>
                <a:lnTo>
                  <a:pt x="51" y="672"/>
                </a:lnTo>
                <a:lnTo>
                  <a:pt x="49" y="662"/>
                </a:lnTo>
                <a:lnTo>
                  <a:pt x="47" y="650"/>
                </a:lnTo>
                <a:lnTo>
                  <a:pt x="51" y="638"/>
                </a:lnTo>
                <a:lnTo>
                  <a:pt x="56" y="625"/>
                </a:lnTo>
                <a:lnTo>
                  <a:pt x="56" y="618"/>
                </a:lnTo>
                <a:lnTo>
                  <a:pt x="57" y="611"/>
                </a:lnTo>
                <a:lnTo>
                  <a:pt x="59" y="606"/>
                </a:lnTo>
                <a:lnTo>
                  <a:pt x="64" y="599"/>
                </a:lnTo>
                <a:lnTo>
                  <a:pt x="73" y="588"/>
                </a:lnTo>
                <a:lnTo>
                  <a:pt x="84" y="574"/>
                </a:lnTo>
                <a:lnTo>
                  <a:pt x="88" y="569"/>
                </a:lnTo>
                <a:lnTo>
                  <a:pt x="88" y="566"/>
                </a:lnTo>
                <a:lnTo>
                  <a:pt x="86" y="564"/>
                </a:lnTo>
                <a:lnTo>
                  <a:pt x="83" y="562"/>
                </a:lnTo>
                <a:lnTo>
                  <a:pt x="69" y="564"/>
                </a:lnTo>
                <a:lnTo>
                  <a:pt x="54" y="567"/>
                </a:lnTo>
                <a:lnTo>
                  <a:pt x="46" y="567"/>
                </a:lnTo>
                <a:lnTo>
                  <a:pt x="37" y="567"/>
                </a:lnTo>
                <a:lnTo>
                  <a:pt x="31" y="566"/>
                </a:lnTo>
                <a:lnTo>
                  <a:pt x="26" y="564"/>
                </a:lnTo>
                <a:lnTo>
                  <a:pt x="20" y="559"/>
                </a:lnTo>
                <a:lnTo>
                  <a:pt x="19" y="551"/>
                </a:lnTo>
                <a:lnTo>
                  <a:pt x="20" y="540"/>
                </a:lnTo>
                <a:lnTo>
                  <a:pt x="22" y="527"/>
                </a:lnTo>
                <a:lnTo>
                  <a:pt x="22" y="519"/>
                </a:lnTo>
                <a:lnTo>
                  <a:pt x="22" y="510"/>
                </a:lnTo>
                <a:lnTo>
                  <a:pt x="22" y="502"/>
                </a:lnTo>
                <a:lnTo>
                  <a:pt x="24" y="493"/>
                </a:lnTo>
                <a:lnTo>
                  <a:pt x="27" y="485"/>
                </a:lnTo>
                <a:lnTo>
                  <a:pt x="31" y="476"/>
                </a:lnTo>
                <a:lnTo>
                  <a:pt x="36" y="468"/>
                </a:lnTo>
                <a:lnTo>
                  <a:pt x="42" y="460"/>
                </a:lnTo>
                <a:lnTo>
                  <a:pt x="47" y="456"/>
                </a:lnTo>
                <a:lnTo>
                  <a:pt x="51" y="453"/>
                </a:lnTo>
                <a:lnTo>
                  <a:pt x="56" y="448"/>
                </a:lnTo>
                <a:lnTo>
                  <a:pt x="57" y="443"/>
                </a:lnTo>
                <a:lnTo>
                  <a:pt x="59" y="436"/>
                </a:lnTo>
                <a:lnTo>
                  <a:pt x="59" y="428"/>
                </a:lnTo>
                <a:lnTo>
                  <a:pt x="57" y="419"/>
                </a:lnTo>
                <a:lnTo>
                  <a:pt x="54" y="407"/>
                </a:lnTo>
                <a:lnTo>
                  <a:pt x="46" y="392"/>
                </a:lnTo>
                <a:lnTo>
                  <a:pt x="37" y="375"/>
                </a:lnTo>
                <a:lnTo>
                  <a:pt x="27" y="359"/>
                </a:lnTo>
                <a:lnTo>
                  <a:pt x="19" y="342"/>
                </a:lnTo>
                <a:lnTo>
                  <a:pt x="10" y="342"/>
                </a:lnTo>
                <a:lnTo>
                  <a:pt x="4" y="340"/>
                </a:lnTo>
                <a:lnTo>
                  <a:pt x="0" y="337"/>
                </a:lnTo>
                <a:lnTo>
                  <a:pt x="0" y="332"/>
                </a:lnTo>
                <a:lnTo>
                  <a:pt x="2" y="325"/>
                </a:lnTo>
                <a:lnTo>
                  <a:pt x="7" y="316"/>
                </a:lnTo>
                <a:lnTo>
                  <a:pt x="15" y="308"/>
                </a:lnTo>
                <a:lnTo>
                  <a:pt x="26" y="296"/>
                </a:lnTo>
                <a:lnTo>
                  <a:pt x="34" y="286"/>
                </a:lnTo>
                <a:lnTo>
                  <a:pt x="41" y="276"/>
                </a:lnTo>
                <a:lnTo>
                  <a:pt x="44" y="268"/>
                </a:lnTo>
                <a:lnTo>
                  <a:pt x="47" y="257"/>
                </a:lnTo>
                <a:lnTo>
                  <a:pt x="47" y="247"/>
                </a:lnTo>
                <a:lnTo>
                  <a:pt x="46" y="239"/>
                </a:lnTo>
                <a:lnTo>
                  <a:pt x="42" y="231"/>
                </a:lnTo>
                <a:lnTo>
                  <a:pt x="36" y="222"/>
                </a:lnTo>
                <a:lnTo>
                  <a:pt x="27" y="209"/>
                </a:lnTo>
                <a:lnTo>
                  <a:pt x="20" y="197"/>
                </a:lnTo>
              </a:path>
            </a:pathLst>
          </a:custGeom>
          <a:solidFill>
            <a:srgbClr val="FFC00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pSp>
        <p:nvGrpSpPr>
          <p:cNvPr id="2" name="Group 12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6310300" y="2620955"/>
            <a:ext cx="1266825" cy="1182688"/>
            <a:chOff x="3206" y="2010"/>
            <a:chExt cx="798" cy="744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11" name="Freeform 13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  <p:sp>
          <p:nvSpPr>
            <p:cNvPr id="12" name="Freeform 14"/>
            <p:cNvSpPr>
              <a:spLocks noChangeAspect="1"/>
            </p:cNvSpPr>
            <p:nvPr/>
          </p:nvSpPr>
          <p:spPr bwMode="auto">
            <a:xfrm>
              <a:off x="3206" y="2010"/>
              <a:ext cx="798" cy="744"/>
            </a:xfrm>
            <a:custGeom>
              <a:avLst/>
              <a:gdLst>
                <a:gd name="T0" fmla="*/ 717 w 798"/>
                <a:gd name="T1" fmla="*/ 396 h 744"/>
                <a:gd name="T2" fmla="*/ 671 w 798"/>
                <a:gd name="T3" fmla="*/ 411 h 744"/>
                <a:gd name="T4" fmla="*/ 688 w 798"/>
                <a:gd name="T5" fmla="*/ 419 h 744"/>
                <a:gd name="T6" fmla="*/ 729 w 798"/>
                <a:gd name="T7" fmla="*/ 423 h 744"/>
                <a:gd name="T8" fmla="*/ 735 w 798"/>
                <a:gd name="T9" fmla="*/ 485 h 744"/>
                <a:gd name="T10" fmla="*/ 677 w 798"/>
                <a:gd name="T11" fmla="*/ 544 h 744"/>
                <a:gd name="T12" fmla="*/ 646 w 798"/>
                <a:gd name="T13" fmla="*/ 577 h 744"/>
                <a:gd name="T14" fmla="*/ 682 w 798"/>
                <a:gd name="T15" fmla="*/ 557 h 744"/>
                <a:gd name="T16" fmla="*/ 678 w 798"/>
                <a:gd name="T17" fmla="*/ 599 h 744"/>
                <a:gd name="T18" fmla="*/ 692 w 798"/>
                <a:gd name="T19" fmla="*/ 620 h 744"/>
                <a:gd name="T20" fmla="*/ 710 w 798"/>
                <a:gd name="T21" fmla="*/ 609 h 744"/>
                <a:gd name="T22" fmla="*/ 746 w 798"/>
                <a:gd name="T23" fmla="*/ 598 h 744"/>
                <a:gd name="T24" fmla="*/ 796 w 798"/>
                <a:gd name="T25" fmla="*/ 653 h 744"/>
                <a:gd name="T26" fmla="*/ 754 w 798"/>
                <a:gd name="T27" fmla="*/ 680 h 744"/>
                <a:gd name="T28" fmla="*/ 717 w 798"/>
                <a:gd name="T29" fmla="*/ 643 h 744"/>
                <a:gd name="T30" fmla="*/ 687 w 798"/>
                <a:gd name="T31" fmla="*/ 672 h 744"/>
                <a:gd name="T32" fmla="*/ 724 w 798"/>
                <a:gd name="T33" fmla="*/ 689 h 744"/>
                <a:gd name="T34" fmla="*/ 697 w 798"/>
                <a:gd name="T35" fmla="*/ 744 h 744"/>
                <a:gd name="T36" fmla="*/ 633 w 798"/>
                <a:gd name="T37" fmla="*/ 729 h 744"/>
                <a:gd name="T38" fmla="*/ 584 w 798"/>
                <a:gd name="T39" fmla="*/ 729 h 744"/>
                <a:gd name="T40" fmla="*/ 544 w 798"/>
                <a:gd name="T41" fmla="*/ 689 h 744"/>
                <a:gd name="T42" fmla="*/ 446 w 798"/>
                <a:gd name="T43" fmla="*/ 609 h 744"/>
                <a:gd name="T44" fmla="*/ 422 w 798"/>
                <a:gd name="T45" fmla="*/ 638 h 744"/>
                <a:gd name="T46" fmla="*/ 390 w 798"/>
                <a:gd name="T47" fmla="*/ 663 h 744"/>
                <a:gd name="T48" fmla="*/ 330 w 798"/>
                <a:gd name="T49" fmla="*/ 645 h 744"/>
                <a:gd name="T50" fmla="*/ 274 w 798"/>
                <a:gd name="T51" fmla="*/ 615 h 744"/>
                <a:gd name="T52" fmla="*/ 229 w 798"/>
                <a:gd name="T53" fmla="*/ 517 h 744"/>
                <a:gd name="T54" fmla="*/ 222 w 798"/>
                <a:gd name="T55" fmla="*/ 490 h 744"/>
                <a:gd name="T56" fmla="*/ 161 w 798"/>
                <a:gd name="T57" fmla="*/ 480 h 744"/>
                <a:gd name="T58" fmla="*/ 119 w 798"/>
                <a:gd name="T59" fmla="*/ 414 h 744"/>
                <a:gd name="T60" fmla="*/ 99 w 798"/>
                <a:gd name="T61" fmla="*/ 360 h 744"/>
                <a:gd name="T62" fmla="*/ 76 w 798"/>
                <a:gd name="T63" fmla="*/ 284 h 744"/>
                <a:gd name="T64" fmla="*/ 12 w 798"/>
                <a:gd name="T65" fmla="*/ 252 h 744"/>
                <a:gd name="T66" fmla="*/ 60 w 798"/>
                <a:gd name="T67" fmla="*/ 138 h 744"/>
                <a:gd name="T68" fmla="*/ 87 w 798"/>
                <a:gd name="T69" fmla="*/ 74 h 744"/>
                <a:gd name="T70" fmla="*/ 145 w 798"/>
                <a:gd name="T71" fmla="*/ 35 h 744"/>
                <a:gd name="T72" fmla="*/ 172 w 798"/>
                <a:gd name="T73" fmla="*/ 12 h 744"/>
                <a:gd name="T74" fmla="*/ 200 w 798"/>
                <a:gd name="T75" fmla="*/ 5 h 744"/>
                <a:gd name="T76" fmla="*/ 215 w 798"/>
                <a:gd name="T77" fmla="*/ 30 h 744"/>
                <a:gd name="T78" fmla="*/ 214 w 798"/>
                <a:gd name="T79" fmla="*/ 131 h 744"/>
                <a:gd name="T80" fmla="*/ 219 w 798"/>
                <a:gd name="T81" fmla="*/ 204 h 744"/>
                <a:gd name="T82" fmla="*/ 204 w 798"/>
                <a:gd name="T83" fmla="*/ 261 h 744"/>
                <a:gd name="T84" fmla="*/ 257 w 798"/>
                <a:gd name="T85" fmla="*/ 273 h 744"/>
                <a:gd name="T86" fmla="*/ 244 w 798"/>
                <a:gd name="T87" fmla="*/ 322 h 744"/>
                <a:gd name="T88" fmla="*/ 321 w 798"/>
                <a:gd name="T89" fmla="*/ 369 h 744"/>
                <a:gd name="T90" fmla="*/ 380 w 798"/>
                <a:gd name="T91" fmla="*/ 355 h 744"/>
                <a:gd name="T92" fmla="*/ 395 w 798"/>
                <a:gd name="T93" fmla="*/ 303 h 744"/>
                <a:gd name="T94" fmla="*/ 367 w 798"/>
                <a:gd name="T95" fmla="*/ 296 h 744"/>
                <a:gd name="T96" fmla="*/ 390 w 798"/>
                <a:gd name="T97" fmla="*/ 204 h 744"/>
                <a:gd name="T98" fmla="*/ 411 w 798"/>
                <a:gd name="T99" fmla="*/ 237 h 744"/>
                <a:gd name="T100" fmla="*/ 459 w 798"/>
                <a:gd name="T101" fmla="*/ 296 h 744"/>
                <a:gd name="T102" fmla="*/ 503 w 798"/>
                <a:gd name="T103" fmla="*/ 338 h 744"/>
                <a:gd name="T104" fmla="*/ 503 w 798"/>
                <a:gd name="T105" fmla="*/ 386 h 744"/>
                <a:gd name="T106" fmla="*/ 533 w 798"/>
                <a:gd name="T107" fmla="*/ 379 h 744"/>
                <a:gd name="T108" fmla="*/ 535 w 798"/>
                <a:gd name="T109" fmla="*/ 461 h 744"/>
                <a:gd name="T110" fmla="*/ 574 w 798"/>
                <a:gd name="T111" fmla="*/ 443 h 744"/>
                <a:gd name="T112" fmla="*/ 641 w 798"/>
                <a:gd name="T113" fmla="*/ 352 h 744"/>
                <a:gd name="T114" fmla="*/ 705 w 798"/>
                <a:gd name="T115" fmla="*/ 327 h 74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98"/>
                <a:gd name="T175" fmla="*/ 0 h 744"/>
                <a:gd name="T176" fmla="*/ 798 w 798"/>
                <a:gd name="T177" fmla="*/ 744 h 74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98" h="744">
                  <a:moveTo>
                    <a:pt x="705" y="327"/>
                  </a:moveTo>
                  <a:lnTo>
                    <a:pt x="700" y="335"/>
                  </a:lnTo>
                  <a:lnTo>
                    <a:pt x="700" y="347"/>
                  </a:lnTo>
                  <a:lnTo>
                    <a:pt x="702" y="359"/>
                  </a:lnTo>
                  <a:lnTo>
                    <a:pt x="705" y="372"/>
                  </a:lnTo>
                  <a:lnTo>
                    <a:pt x="712" y="382"/>
                  </a:lnTo>
                  <a:lnTo>
                    <a:pt x="720" y="392"/>
                  </a:lnTo>
                  <a:lnTo>
                    <a:pt x="717" y="396"/>
                  </a:lnTo>
                  <a:lnTo>
                    <a:pt x="712" y="399"/>
                  </a:lnTo>
                  <a:lnTo>
                    <a:pt x="708" y="401"/>
                  </a:lnTo>
                  <a:lnTo>
                    <a:pt x="702" y="401"/>
                  </a:lnTo>
                  <a:lnTo>
                    <a:pt x="695" y="399"/>
                  </a:lnTo>
                  <a:lnTo>
                    <a:pt x="688" y="401"/>
                  </a:lnTo>
                  <a:lnTo>
                    <a:pt x="683" y="406"/>
                  </a:lnTo>
                  <a:lnTo>
                    <a:pt x="680" y="412"/>
                  </a:lnTo>
                  <a:lnTo>
                    <a:pt x="671" y="411"/>
                  </a:lnTo>
                  <a:lnTo>
                    <a:pt x="663" y="409"/>
                  </a:lnTo>
                  <a:lnTo>
                    <a:pt x="658" y="416"/>
                  </a:lnTo>
                  <a:lnTo>
                    <a:pt x="655" y="421"/>
                  </a:lnTo>
                  <a:lnTo>
                    <a:pt x="660" y="423"/>
                  </a:lnTo>
                  <a:lnTo>
                    <a:pt x="665" y="423"/>
                  </a:lnTo>
                  <a:lnTo>
                    <a:pt x="671" y="423"/>
                  </a:lnTo>
                  <a:lnTo>
                    <a:pt x="678" y="419"/>
                  </a:lnTo>
                  <a:lnTo>
                    <a:pt x="688" y="419"/>
                  </a:lnTo>
                  <a:lnTo>
                    <a:pt x="700" y="416"/>
                  </a:lnTo>
                  <a:lnTo>
                    <a:pt x="705" y="414"/>
                  </a:lnTo>
                  <a:lnTo>
                    <a:pt x="710" y="411"/>
                  </a:lnTo>
                  <a:lnTo>
                    <a:pt x="715" y="406"/>
                  </a:lnTo>
                  <a:lnTo>
                    <a:pt x="719" y="401"/>
                  </a:lnTo>
                  <a:lnTo>
                    <a:pt x="720" y="407"/>
                  </a:lnTo>
                  <a:lnTo>
                    <a:pt x="720" y="414"/>
                  </a:lnTo>
                  <a:lnTo>
                    <a:pt x="729" y="423"/>
                  </a:lnTo>
                  <a:lnTo>
                    <a:pt x="737" y="429"/>
                  </a:lnTo>
                  <a:lnTo>
                    <a:pt x="742" y="433"/>
                  </a:lnTo>
                  <a:lnTo>
                    <a:pt x="744" y="436"/>
                  </a:lnTo>
                  <a:lnTo>
                    <a:pt x="747" y="441"/>
                  </a:lnTo>
                  <a:lnTo>
                    <a:pt x="747" y="444"/>
                  </a:lnTo>
                  <a:lnTo>
                    <a:pt x="747" y="455"/>
                  </a:lnTo>
                  <a:lnTo>
                    <a:pt x="747" y="465"/>
                  </a:lnTo>
                  <a:lnTo>
                    <a:pt x="735" y="485"/>
                  </a:lnTo>
                  <a:lnTo>
                    <a:pt x="725" y="500"/>
                  </a:lnTo>
                  <a:lnTo>
                    <a:pt x="720" y="505"/>
                  </a:lnTo>
                  <a:lnTo>
                    <a:pt x="717" y="508"/>
                  </a:lnTo>
                  <a:lnTo>
                    <a:pt x="712" y="508"/>
                  </a:lnTo>
                  <a:lnTo>
                    <a:pt x="708" y="508"/>
                  </a:lnTo>
                  <a:lnTo>
                    <a:pt x="698" y="529"/>
                  </a:lnTo>
                  <a:lnTo>
                    <a:pt x="687" y="547"/>
                  </a:lnTo>
                  <a:lnTo>
                    <a:pt x="677" y="544"/>
                  </a:lnTo>
                  <a:lnTo>
                    <a:pt x="668" y="544"/>
                  </a:lnTo>
                  <a:lnTo>
                    <a:pt x="661" y="544"/>
                  </a:lnTo>
                  <a:lnTo>
                    <a:pt x="656" y="545"/>
                  </a:lnTo>
                  <a:lnTo>
                    <a:pt x="650" y="554"/>
                  </a:lnTo>
                  <a:lnTo>
                    <a:pt x="646" y="564"/>
                  </a:lnTo>
                  <a:lnTo>
                    <a:pt x="650" y="566"/>
                  </a:lnTo>
                  <a:lnTo>
                    <a:pt x="651" y="569"/>
                  </a:lnTo>
                  <a:lnTo>
                    <a:pt x="646" y="577"/>
                  </a:lnTo>
                  <a:lnTo>
                    <a:pt x="639" y="586"/>
                  </a:lnTo>
                  <a:lnTo>
                    <a:pt x="641" y="588"/>
                  </a:lnTo>
                  <a:lnTo>
                    <a:pt x="645" y="588"/>
                  </a:lnTo>
                  <a:lnTo>
                    <a:pt x="651" y="579"/>
                  </a:lnTo>
                  <a:lnTo>
                    <a:pt x="658" y="571"/>
                  </a:lnTo>
                  <a:lnTo>
                    <a:pt x="663" y="562"/>
                  </a:lnTo>
                  <a:lnTo>
                    <a:pt x="668" y="552"/>
                  </a:lnTo>
                  <a:lnTo>
                    <a:pt x="682" y="557"/>
                  </a:lnTo>
                  <a:lnTo>
                    <a:pt x="695" y="562"/>
                  </a:lnTo>
                  <a:lnTo>
                    <a:pt x="695" y="571"/>
                  </a:lnTo>
                  <a:lnTo>
                    <a:pt x="697" y="579"/>
                  </a:lnTo>
                  <a:lnTo>
                    <a:pt x="692" y="581"/>
                  </a:lnTo>
                  <a:lnTo>
                    <a:pt x="688" y="581"/>
                  </a:lnTo>
                  <a:lnTo>
                    <a:pt x="688" y="588"/>
                  </a:lnTo>
                  <a:lnTo>
                    <a:pt x="688" y="593"/>
                  </a:lnTo>
                  <a:lnTo>
                    <a:pt x="678" y="599"/>
                  </a:lnTo>
                  <a:lnTo>
                    <a:pt x="668" y="608"/>
                  </a:lnTo>
                  <a:lnTo>
                    <a:pt x="666" y="613"/>
                  </a:lnTo>
                  <a:lnTo>
                    <a:pt x="666" y="620"/>
                  </a:lnTo>
                  <a:lnTo>
                    <a:pt x="677" y="611"/>
                  </a:lnTo>
                  <a:lnTo>
                    <a:pt x="688" y="603"/>
                  </a:lnTo>
                  <a:lnTo>
                    <a:pt x="692" y="603"/>
                  </a:lnTo>
                  <a:lnTo>
                    <a:pt x="697" y="604"/>
                  </a:lnTo>
                  <a:lnTo>
                    <a:pt x="692" y="620"/>
                  </a:lnTo>
                  <a:lnTo>
                    <a:pt x="685" y="635"/>
                  </a:lnTo>
                  <a:lnTo>
                    <a:pt x="690" y="635"/>
                  </a:lnTo>
                  <a:lnTo>
                    <a:pt x="695" y="635"/>
                  </a:lnTo>
                  <a:lnTo>
                    <a:pt x="698" y="626"/>
                  </a:lnTo>
                  <a:lnTo>
                    <a:pt x="700" y="618"/>
                  </a:lnTo>
                  <a:lnTo>
                    <a:pt x="705" y="620"/>
                  </a:lnTo>
                  <a:lnTo>
                    <a:pt x="708" y="621"/>
                  </a:lnTo>
                  <a:lnTo>
                    <a:pt x="710" y="609"/>
                  </a:lnTo>
                  <a:lnTo>
                    <a:pt x="710" y="596"/>
                  </a:lnTo>
                  <a:lnTo>
                    <a:pt x="720" y="598"/>
                  </a:lnTo>
                  <a:lnTo>
                    <a:pt x="730" y="598"/>
                  </a:lnTo>
                  <a:lnTo>
                    <a:pt x="730" y="593"/>
                  </a:lnTo>
                  <a:lnTo>
                    <a:pt x="732" y="591"/>
                  </a:lnTo>
                  <a:lnTo>
                    <a:pt x="735" y="589"/>
                  </a:lnTo>
                  <a:lnTo>
                    <a:pt x="740" y="591"/>
                  </a:lnTo>
                  <a:lnTo>
                    <a:pt x="746" y="598"/>
                  </a:lnTo>
                  <a:lnTo>
                    <a:pt x="749" y="603"/>
                  </a:lnTo>
                  <a:lnTo>
                    <a:pt x="746" y="613"/>
                  </a:lnTo>
                  <a:lnTo>
                    <a:pt x="740" y="621"/>
                  </a:lnTo>
                  <a:lnTo>
                    <a:pt x="754" y="628"/>
                  </a:lnTo>
                  <a:lnTo>
                    <a:pt x="769" y="635"/>
                  </a:lnTo>
                  <a:lnTo>
                    <a:pt x="783" y="641"/>
                  </a:lnTo>
                  <a:lnTo>
                    <a:pt x="796" y="650"/>
                  </a:lnTo>
                  <a:lnTo>
                    <a:pt x="796" y="653"/>
                  </a:lnTo>
                  <a:lnTo>
                    <a:pt x="798" y="658"/>
                  </a:lnTo>
                  <a:lnTo>
                    <a:pt x="786" y="658"/>
                  </a:lnTo>
                  <a:lnTo>
                    <a:pt x="774" y="658"/>
                  </a:lnTo>
                  <a:lnTo>
                    <a:pt x="771" y="665"/>
                  </a:lnTo>
                  <a:lnTo>
                    <a:pt x="767" y="670"/>
                  </a:lnTo>
                  <a:lnTo>
                    <a:pt x="764" y="675"/>
                  </a:lnTo>
                  <a:lnTo>
                    <a:pt x="759" y="677"/>
                  </a:lnTo>
                  <a:lnTo>
                    <a:pt x="754" y="680"/>
                  </a:lnTo>
                  <a:lnTo>
                    <a:pt x="749" y="680"/>
                  </a:lnTo>
                  <a:lnTo>
                    <a:pt x="744" y="680"/>
                  </a:lnTo>
                  <a:lnTo>
                    <a:pt x="737" y="679"/>
                  </a:lnTo>
                  <a:lnTo>
                    <a:pt x="729" y="668"/>
                  </a:lnTo>
                  <a:lnTo>
                    <a:pt x="720" y="658"/>
                  </a:lnTo>
                  <a:lnTo>
                    <a:pt x="719" y="653"/>
                  </a:lnTo>
                  <a:lnTo>
                    <a:pt x="717" y="648"/>
                  </a:lnTo>
                  <a:lnTo>
                    <a:pt x="717" y="643"/>
                  </a:lnTo>
                  <a:lnTo>
                    <a:pt x="719" y="638"/>
                  </a:lnTo>
                  <a:lnTo>
                    <a:pt x="710" y="640"/>
                  </a:lnTo>
                  <a:lnTo>
                    <a:pt x="703" y="643"/>
                  </a:lnTo>
                  <a:lnTo>
                    <a:pt x="702" y="648"/>
                  </a:lnTo>
                  <a:lnTo>
                    <a:pt x="700" y="653"/>
                  </a:lnTo>
                  <a:lnTo>
                    <a:pt x="693" y="660"/>
                  </a:lnTo>
                  <a:lnTo>
                    <a:pt x="687" y="667"/>
                  </a:lnTo>
                  <a:lnTo>
                    <a:pt x="687" y="672"/>
                  </a:lnTo>
                  <a:lnTo>
                    <a:pt x="690" y="677"/>
                  </a:lnTo>
                  <a:lnTo>
                    <a:pt x="693" y="679"/>
                  </a:lnTo>
                  <a:lnTo>
                    <a:pt x="700" y="677"/>
                  </a:lnTo>
                  <a:lnTo>
                    <a:pt x="702" y="672"/>
                  </a:lnTo>
                  <a:lnTo>
                    <a:pt x="702" y="665"/>
                  </a:lnTo>
                  <a:lnTo>
                    <a:pt x="710" y="667"/>
                  </a:lnTo>
                  <a:lnTo>
                    <a:pt x="719" y="668"/>
                  </a:lnTo>
                  <a:lnTo>
                    <a:pt x="724" y="689"/>
                  </a:lnTo>
                  <a:lnTo>
                    <a:pt x="730" y="709"/>
                  </a:lnTo>
                  <a:lnTo>
                    <a:pt x="724" y="716"/>
                  </a:lnTo>
                  <a:lnTo>
                    <a:pt x="717" y="722"/>
                  </a:lnTo>
                  <a:lnTo>
                    <a:pt x="714" y="731"/>
                  </a:lnTo>
                  <a:lnTo>
                    <a:pt x="708" y="739"/>
                  </a:lnTo>
                  <a:lnTo>
                    <a:pt x="705" y="741"/>
                  </a:lnTo>
                  <a:lnTo>
                    <a:pt x="702" y="743"/>
                  </a:lnTo>
                  <a:lnTo>
                    <a:pt x="697" y="744"/>
                  </a:lnTo>
                  <a:lnTo>
                    <a:pt x="692" y="743"/>
                  </a:lnTo>
                  <a:lnTo>
                    <a:pt x="677" y="741"/>
                  </a:lnTo>
                  <a:lnTo>
                    <a:pt x="660" y="739"/>
                  </a:lnTo>
                  <a:lnTo>
                    <a:pt x="655" y="727"/>
                  </a:lnTo>
                  <a:lnTo>
                    <a:pt x="648" y="714"/>
                  </a:lnTo>
                  <a:lnTo>
                    <a:pt x="641" y="719"/>
                  </a:lnTo>
                  <a:lnTo>
                    <a:pt x="636" y="724"/>
                  </a:lnTo>
                  <a:lnTo>
                    <a:pt x="633" y="729"/>
                  </a:lnTo>
                  <a:lnTo>
                    <a:pt x="631" y="736"/>
                  </a:lnTo>
                  <a:lnTo>
                    <a:pt x="618" y="737"/>
                  </a:lnTo>
                  <a:lnTo>
                    <a:pt x="606" y="737"/>
                  </a:lnTo>
                  <a:lnTo>
                    <a:pt x="602" y="736"/>
                  </a:lnTo>
                  <a:lnTo>
                    <a:pt x="597" y="734"/>
                  </a:lnTo>
                  <a:lnTo>
                    <a:pt x="594" y="731"/>
                  </a:lnTo>
                  <a:lnTo>
                    <a:pt x="591" y="726"/>
                  </a:lnTo>
                  <a:lnTo>
                    <a:pt x="584" y="729"/>
                  </a:lnTo>
                  <a:lnTo>
                    <a:pt x="577" y="731"/>
                  </a:lnTo>
                  <a:lnTo>
                    <a:pt x="572" y="731"/>
                  </a:lnTo>
                  <a:lnTo>
                    <a:pt x="567" y="727"/>
                  </a:lnTo>
                  <a:lnTo>
                    <a:pt x="562" y="722"/>
                  </a:lnTo>
                  <a:lnTo>
                    <a:pt x="559" y="716"/>
                  </a:lnTo>
                  <a:lnTo>
                    <a:pt x="555" y="707"/>
                  </a:lnTo>
                  <a:lnTo>
                    <a:pt x="552" y="695"/>
                  </a:lnTo>
                  <a:lnTo>
                    <a:pt x="544" y="689"/>
                  </a:lnTo>
                  <a:lnTo>
                    <a:pt x="532" y="682"/>
                  </a:lnTo>
                  <a:lnTo>
                    <a:pt x="520" y="677"/>
                  </a:lnTo>
                  <a:lnTo>
                    <a:pt x="506" y="672"/>
                  </a:lnTo>
                  <a:lnTo>
                    <a:pt x="478" y="665"/>
                  </a:lnTo>
                  <a:lnTo>
                    <a:pt x="449" y="657"/>
                  </a:lnTo>
                  <a:lnTo>
                    <a:pt x="451" y="638"/>
                  </a:lnTo>
                  <a:lnTo>
                    <a:pt x="451" y="620"/>
                  </a:lnTo>
                  <a:lnTo>
                    <a:pt x="446" y="609"/>
                  </a:lnTo>
                  <a:lnTo>
                    <a:pt x="441" y="603"/>
                  </a:lnTo>
                  <a:lnTo>
                    <a:pt x="436" y="599"/>
                  </a:lnTo>
                  <a:lnTo>
                    <a:pt x="431" y="599"/>
                  </a:lnTo>
                  <a:lnTo>
                    <a:pt x="432" y="618"/>
                  </a:lnTo>
                  <a:lnTo>
                    <a:pt x="432" y="636"/>
                  </a:lnTo>
                  <a:lnTo>
                    <a:pt x="427" y="631"/>
                  </a:lnTo>
                  <a:lnTo>
                    <a:pt x="422" y="626"/>
                  </a:lnTo>
                  <a:lnTo>
                    <a:pt x="422" y="638"/>
                  </a:lnTo>
                  <a:lnTo>
                    <a:pt x="421" y="648"/>
                  </a:lnTo>
                  <a:lnTo>
                    <a:pt x="414" y="643"/>
                  </a:lnTo>
                  <a:lnTo>
                    <a:pt x="405" y="638"/>
                  </a:lnTo>
                  <a:lnTo>
                    <a:pt x="405" y="643"/>
                  </a:lnTo>
                  <a:lnTo>
                    <a:pt x="407" y="650"/>
                  </a:lnTo>
                  <a:lnTo>
                    <a:pt x="404" y="655"/>
                  </a:lnTo>
                  <a:lnTo>
                    <a:pt x="400" y="660"/>
                  </a:lnTo>
                  <a:lnTo>
                    <a:pt x="390" y="663"/>
                  </a:lnTo>
                  <a:lnTo>
                    <a:pt x="380" y="665"/>
                  </a:lnTo>
                  <a:lnTo>
                    <a:pt x="372" y="665"/>
                  </a:lnTo>
                  <a:lnTo>
                    <a:pt x="363" y="665"/>
                  </a:lnTo>
                  <a:lnTo>
                    <a:pt x="355" y="663"/>
                  </a:lnTo>
                  <a:lnTo>
                    <a:pt x="348" y="660"/>
                  </a:lnTo>
                  <a:lnTo>
                    <a:pt x="342" y="657"/>
                  </a:lnTo>
                  <a:lnTo>
                    <a:pt x="335" y="652"/>
                  </a:lnTo>
                  <a:lnTo>
                    <a:pt x="330" y="645"/>
                  </a:lnTo>
                  <a:lnTo>
                    <a:pt x="323" y="640"/>
                  </a:lnTo>
                  <a:lnTo>
                    <a:pt x="315" y="636"/>
                  </a:lnTo>
                  <a:lnTo>
                    <a:pt x="304" y="631"/>
                  </a:lnTo>
                  <a:lnTo>
                    <a:pt x="296" y="633"/>
                  </a:lnTo>
                  <a:lnTo>
                    <a:pt x="288" y="631"/>
                  </a:lnTo>
                  <a:lnTo>
                    <a:pt x="283" y="628"/>
                  </a:lnTo>
                  <a:lnTo>
                    <a:pt x="279" y="625"/>
                  </a:lnTo>
                  <a:lnTo>
                    <a:pt x="274" y="615"/>
                  </a:lnTo>
                  <a:lnTo>
                    <a:pt x="273" y="603"/>
                  </a:lnTo>
                  <a:lnTo>
                    <a:pt x="273" y="583"/>
                  </a:lnTo>
                  <a:lnTo>
                    <a:pt x="274" y="562"/>
                  </a:lnTo>
                  <a:lnTo>
                    <a:pt x="264" y="556"/>
                  </a:lnTo>
                  <a:lnTo>
                    <a:pt x="254" y="549"/>
                  </a:lnTo>
                  <a:lnTo>
                    <a:pt x="249" y="540"/>
                  </a:lnTo>
                  <a:lnTo>
                    <a:pt x="244" y="532"/>
                  </a:lnTo>
                  <a:lnTo>
                    <a:pt x="229" y="517"/>
                  </a:lnTo>
                  <a:lnTo>
                    <a:pt x="214" y="502"/>
                  </a:lnTo>
                  <a:lnTo>
                    <a:pt x="214" y="500"/>
                  </a:lnTo>
                  <a:lnTo>
                    <a:pt x="214" y="497"/>
                  </a:lnTo>
                  <a:lnTo>
                    <a:pt x="224" y="503"/>
                  </a:lnTo>
                  <a:lnTo>
                    <a:pt x="234" y="512"/>
                  </a:lnTo>
                  <a:lnTo>
                    <a:pt x="230" y="503"/>
                  </a:lnTo>
                  <a:lnTo>
                    <a:pt x="227" y="495"/>
                  </a:lnTo>
                  <a:lnTo>
                    <a:pt x="222" y="490"/>
                  </a:lnTo>
                  <a:lnTo>
                    <a:pt x="217" y="485"/>
                  </a:lnTo>
                  <a:lnTo>
                    <a:pt x="217" y="478"/>
                  </a:lnTo>
                  <a:lnTo>
                    <a:pt x="215" y="473"/>
                  </a:lnTo>
                  <a:lnTo>
                    <a:pt x="210" y="476"/>
                  </a:lnTo>
                  <a:lnTo>
                    <a:pt x="205" y="480"/>
                  </a:lnTo>
                  <a:lnTo>
                    <a:pt x="187" y="483"/>
                  </a:lnTo>
                  <a:lnTo>
                    <a:pt x="170" y="481"/>
                  </a:lnTo>
                  <a:lnTo>
                    <a:pt x="161" y="480"/>
                  </a:lnTo>
                  <a:lnTo>
                    <a:pt x="155" y="478"/>
                  </a:lnTo>
                  <a:lnTo>
                    <a:pt x="148" y="475"/>
                  </a:lnTo>
                  <a:lnTo>
                    <a:pt x="141" y="471"/>
                  </a:lnTo>
                  <a:lnTo>
                    <a:pt x="128" y="470"/>
                  </a:lnTo>
                  <a:lnTo>
                    <a:pt x="113" y="468"/>
                  </a:lnTo>
                  <a:lnTo>
                    <a:pt x="116" y="451"/>
                  </a:lnTo>
                  <a:lnTo>
                    <a:pt x="118" y="433"/>
                  </a:lnTo>
                  <a:lnTo>
                    <a:pt x="119" y="414"/>
                  </a:lnTo>
                  <a:lnTo>
                    <a:pt x="119" y="397"/>
                  </a:lnTo>
                  <a:lnTo>
                    <a:pt x="119" y="389"/>
                  </a:lnTo>
                  <a:lnTo>
                    <a:pt x="116" y="380"/>
                  </a:lnTo>
                  <a:lnTo>
                    <a:pt x="113" y="374"/>
                  </a:lnTo>
                  <a:lnTo>
                    <a:pt x="108" y="369"/>
                  </a:lnTo>
                  <a:lnTo>
                    <a:pt x="104" y="367"/>
                  </a:lnTo>
                  <a:lnTo>
                    <a:pt x="101" y="367"/>
                  </a:lnTo>
                  <a:lnTo>
                    <a:pt x="99" y="360"/>
                  </a:lnTo>
                  <a:lnTo>
                    <a:pt x="101" y="347"/>
                  </a:lnTo>
                  <a:lnTo>
                    <a:pt x="103" y="333"/>
                  </a:lnTo>
                  <a:lnTo>
                    <a:pt x="101" y="320"/>
                  </a:lnTo>
                  <a:lnTo>
                    <a:pt x="99" y="311"/>
                  </a:lnTo>
                  <a:lnTo>
                    <a:pt x="96" y="305"/>
                  </a:lnTo>
                  <a:lnTo>
                    <a:pt x="91" y="298"/>
                  </a:lnTo>
                  <a:lnTo>
                    <a:pt x="82" y="291"/>
                  </a:lnTo>
                  <a:lnTo>
                    <a:pt x="76" y="284"/>
                  </a:lnTo>
                  <a:lnTo>
                    <a:pt x="71" y="279"/>
                  </a:lnTo>
                  <a:lnTo>
                    <a:pt x="64" y="274"/>
                  </a:lnTo>
                  <a:lnTo>
                    <a:pt x="57" y="271"/>
                  </a:lnTo>
                  <a:lnTo>
                    <a:pt x="49" y="268"/>
                  </a:lnTo>
                  <a:lnTo>
                    <a:pt x="40" y="268"/>
                  </a:lnTo>
                  <a:lnTo>
                    <a:pt x="32" y="268"/>
                  </a:lnTo>
                  <a:lnTo>
                    <a:pt x="22" y="269"/>
                  </a:lnTo>
                  <a:lnTo>
                    <a:pt x="12" y="252"/>
                  </a:lnTo>
                  <a:lnTo>
                    <a:pt x="2" y="237"/>
                  </a:lnTo>
                  <a:lnTo>
                    <a:pt x="0" y="227"/>
                  </a:lnTo>
                  <a:lnTo>
                    <a:pt x="2" y="217"/>
                  </a:lnTo>
                  <a:lnTo>
                    <a:pt x="5" y="210"/>
                  </a:lnTo>
                  <a:lnTo>
                    <a:pt x="12" y="204"/>
                  </a:lnTo>
                  <a:lnTo>
                    <a:pt x="32" y="178"/>
                  </a:lnTo>
                  <a:lnTo>
                    <a:pt x="50" y="160"/>
                  </a:lnTo>
                  <a:lnTo>
                    <a:pt x="60" y="138"/>
                  </a:lnTo>
                  <a:lnTo>
                    <a:pt x="69" y="118"/>
                  </a:lnTo>
                  <a:lnTo>
                    <a:pt x="71" y="104"/>
                  </a:lnTo>
                  <a:lnTo>
                    <a:pt x="74" y="89"/>
                  </a:lnTo>
                  <a:lnTo>
                    <a:pt x="74" y="82"/>
                  </a:lnTo>
                  <a:lnTo>
                    <a:pt x="76" y="77"/>
                  </a:lnTo>
                  <a:lnTo>
                    <a:pt x="79" y="74"/>
                  </a:lnTo>
                  <a:lnTo>
                    <a:pt x="82" y="74"/>
                  </a:lnTo>
                  <a:lnTo>
                    <a:pt x="87" y="74"/>
                  </a:lnTo>
                  <a:lnTo>
                    <a:pt x="94" y="76"/>
                  </a:lnTo>
                  <a:lnTo>
                    <a:pt x="103" y="74"/>
                  </a:lnTo>
                  <a:lnTo>
                    <a:pt x="113" y="71"/>
                  </a:lnTo>
                  <a:lnTo>
                    <a:pt x="121" y="66"/>
                  </a:lnTo>
                  <a:lnTo>
                    <a:pt x="128" y="60"/>
                  </a:lnTo>
                  <a:lnTo>
                    <a:pt x="134" y="54"/>
                  </a:lnTo>
                  <a:lnTo>
                    <a:pt x="140" y="45"/>
                  </a:lnTo>
                  <a:lnTo>
                    <a:pt x="145" y="35"/>
                  </a:lnTo>
                  <a:lnTo>
                    <a:pt x="150" y="25"/>
                  </a:lnTo>
                  <a:lnTo>
                    <a:pt x="150" y="12"/>
                  </a:lnTo>
                  <a:lnTo>
                    <a:pt x="153" y="5"/>
                  </a:lnTo>
                  <a:lnTo>
                    <a:pt x="155" y="3"/>
                  </a:lnTo>
                  <a:lnTo>
                    <a:pt x="158" y="2"/>
                  </a:lnTo>
                  <a:lnTo>
                    <a:pt x="161" y="3"/>
                  </a:lnTo>
                  <a:lnTo>
                    <a:pt x="166" y="7"/>
                  </a:lnTo>
                  <a:lnTo>
                    <a:pt x="172" y="12"/>
                  </a:lnTo>
                  <a:lnTo>
                    <a:pt x="177" y="15"/>
                  </a:lnTo>
                  <a:lnTo>
                    <a:pt x="178" y="15"/>
                  </a:lnTo>
                  <a:lnTo>
                    <a:pt x="182" y="13"/>
                  </a:lnTo>
                  <a:lnTo>
                    <a:pt x="183" y="12"/>
                  </a:lnTo>
                  <a:lnTo>
                    <a:pt x="187" y="8"/>
                  </a:lnTo>
                  <a:lnTo>
                    <a:pt x="188" y="5"/>
                  </a:lnTo>
                  <a:lnTo>
                    <a:pt x="190" y="0"/>
                  </a:lnTo>
                  <a:lnTo>
                    <a:pt x="200" y="5"/>
                  </a:lnTo>
                  <a:lnTo>
                    <a:pt x="210" y="13"/>
                  </a:lnTo>
                  <a:lnTo>
                    <a:pt x="215" y="15"/>
                  </a:lnTo>
                  <a:lnTo>
                    <a:pt x="219" y="17"/>
                  </a:lnTo>
                  <a:lnTo>
                    <a:pt x="220" y="20"/>
                  </a:lnTo>
                  <a:lnTo>
                    <a:pt x="222" y="23"/>
                  </a:lnTo>
                  <a:lnTo>
                    <a:pt x="220" y="25"/>
                  </a:lnTo>
                  <a:lnTo>
                    <a:pt x="219" y="28"/>
                  </a:lnTo>
                  <a:lnTo>
                    <a:pt x="215" y="30"/>
                  </a:lnTo>
                  <a:lnTo>
                    <a:pt x="212" y="32"/>
                  </a:lnTo>
                  <a:lnTo>
                    <a:pt x="210" y="49"/>
                  </a:lnTo>
                  <a:lnTo>
                    <a:pt x="212" y="67"/>
                  </a:lnTo>
                  <a:lnTo>
                    <a:pt x="214" y="87"/>
                  </a:lnTo>
                  <a:lnTo>
                    <a:pt x="217" y="108"/>
                  </a:lnTo>
                  <a:lnTo>
                    <a:pt x="215" y="116"/>
                  </a:lnTo>
                  <a:lnTo>
                    <a:pt x="214" y="126"/>
                  </a:lnTo>
                  <a:lnTo>
                    <a:pt x="214" y="131"/>
                  </a:lnTo>
                  <a:lnTo>
                    <a:pt x="214" y="136"/>
                  </a:lnTo>
                  <a:lnTo>
                    <a:pt x="217" y="141"/>
                  </a:lnTo>
                  <a:lnTo>
                    <a:pt x="220" y="148"/>
                  </a:lnTo>
                  <a:lnTo>
                    <a:pt x="224" y="162"/>
                  </a:lnTo>
                  <a:lnTo>
                    <a:pt x="224" y="173"/>
                  </a:lnTo>
                  <a:lnTo>
                    <a:pt x="224" y="185"/>
                  </a:lnTo>
                  <a:lnTo>
                    <a:pt x="222" y="195"/>
                  </a:lnTo>
                  <a:lnTo>
                    <a:pt x="219" y="204"/>
                  </a:lnTo>
                  <a:lnTo>
                    <a:pt x="215" y="212"/>
                  </a:lnTo>
                  <a:lnTo>
                    <a:pt x="210" y="219"/>
                  </a:lnTo>
                  <a:lnTo>
                    <a:pt x="204" y="226"/>
                  </a:lnTo>
                  <a:lnTo>
                    <a:pt x="200" y="239"/>
                  </a:lnTo>
                  <a:lnTo>
                    <a:pt x="198" y="247"/>
                  </a:lnTo>
                  <a:lnTo>
                    <a:pt x="198" y="254"/>
                  </a:lnTo>
                  <a:lnTo>
                    <a:pt x="200" y="259"/>
                  </a:lnTo>
                  <a:lnTo>
                    <a:pt x="204" y="261"/>
                  </a:lnTo>
                  <a:lnTo>
                    <a:pt x="207" y="259"/>
                  </a:lnTo>
                  <a:lnTo>
                    <a:pt x="212" y="259"/>
                  </a:lnTo>
                  <a:lnTo>
                    <a:pt x="217" y="256"/>
                  </a:lnTo>
                  <a:lnTo>
                    <a:pt x="230" y="258"/>
                  </a:lnTo>
                  <a:lnTo>
                    <a:pt x="241" y="261"/>
                  </a:lnTo>
                  <a:lnTo>
                    <a:pt x="247" y="264"/>
                  </a:lnTo>
                  <a:lnTo>
                    <a:pt x="254" y="268"/>
                  </a:lnTo>
                  <a:lnTo>
                    <a:pt x="257" y="273"/>
                  </a:lnTo>
                  <a:lnTo>
                    <a:pt x="257" y="278"/>
                  </a:lnTo>
                  <a:lnTo>
                    <a:pt x="256" y="284"/>
                  </a:lnTo>
                  <a:lnTo>
                    <a:pt x="252" y="293"/>
                  </a:lnTo>
                  <a:lnTo>
                    <a:pt x="247" y="301"/>
                  </a:lnTo>
                  <a:lnTo>
                    <a:pt x="242" y="310"/>
                  </a:lnTo>
                  <a:lnTo>
                    <a:pt x="241" y="315"/>
                  </a:lnTo>
                  <a:lnTo>
                    <a:pt x="242" y="320"/>
                  </a:lnTo>
                  <a:lnTo>
                    <a:pt x="244" y="322"/>
                  </a:lnTo>
                  <a:lnTo>
                    <a:pt x="249" y="323"/>
                  </a:lnTo>
                  <a:lnTo>
                    <a:pt x="254" y="322"/>
                  </a:lnTo>
                  <a:lnTo>
                    <a:pt x="262" y="322"/>
                  </a:lnTo>
                  <a:lnTo>
                    <a:pt x="279" y="332"/>
                  </a:lnTo>
                  <a:lnTo>
                    <a:pt x="296" y="343"/>
                  </a:lnTo>
                  <a:lnTo>
                    <a:pt x="304" y="352"/>
                  </a:lnTo>
                  <a:lnTo>
                    <a:pt x="313" y="360"/>
                  </a:lnTo>
                  <a:lnTo>
                    <a:pt x="321" y="369"/>
                  </a:lnTo>
                  <a:lnTo>
                    <a:pt x="328" y="380"/>
                  </a:lnTo>
                  <a:lnTo>
                    <a:pt x="333" y="386"/>
                  </a:lnTo>
                  <a:lnTo>
                    <a:pt x="338" y="389"/>
                  </a:lnTo>
                  <a:lnTo>
                    <a:pt x="343" y="391"/>
                  </a:lnTo>
                  <a:lnTo>
                    <a:pt x="347" y="391"/>
                  </a:lnTo>
                  <a:lnTo>
                    <a:pt x="353" y="387"/>
                  </a:lnTo>
                  <a:lnTo>
                    <a:pt x="358" y="380"/>
                  </a:lnTo>
                  <a:lnTo>
                    <a:pt x="380" y="355"/>
                  </a:lnTo>
                  <a:lnTo>
                    <a:pt x="400" y="330"/>
                  </a:lnTo>
                  <a:lnTo>
                    <a:pt x="405" y="323"/>
                  </a:lnTo>
                  <a:lnTo>
                    <a:pt x="409" y="316"/>
                  </a:lnTo>
                  <a:lnTo>
                    <a:pt x="411" y="310"/>
                  </a:lnTo>
                  <a:lnTo>
                    <a:pt x="411" y="305"/>
                  </a:lnTo>
                  <a:lnTo>
                    <a:pt x="407" y="301"/>
                  </a:lnTo>
                  <a:lnTo>
                    <a:pt x="402" y="301"/>
                  </a:lnTo>
                  <a:lnTo>
                    <a:pt x="395" y="303"/>
                  </a:lnTo>
                  <a:lnTo>
                    <a:pt x="387" y="308"/>
                  </a:lnTo>
                  <a:lnTo>
                    <a:pt x="380" y="311"/>
                  </a:lnTo>
                  <a:lnTo>
                    <a:pt x="375" y="313"/>
                  </a:lnTo>
                  <a:lnTo>
                    <a:pt x="372" y="313"/>
                  </a:lnTo>
                  <a:lnTo>
                    <a:pt x="368" y="311"/>
                  </a:lnTo>
                  <a:lnTo>
                    <a:pt x="367" y="308"/>
                  </a:lnTo>
                  <a:lnTo>
                    <a:pt x="367" y="303"/>
                  </a:lnTo>
                  <a:lnTo>
                    <a:pt x="367" y="296"/>
                  </a:lnTo>
                  <a:lnTo>
                    <a:pt x="368" y="288"/>
                  </a:lnTo>
                  <a:lnTo>
                    <a:pt x="370" y="263"/>
                  </a:lnTo>
                  <a:lnTo>
                    <a:pt x="372" y="239"/>
                  </a:lnTo>
                  <a:lnTo>
                    <a:pt x="374" y="227"/>
                  </a:lnTo>
                  <a:lnTo>
                    <a:pt x="377" y="219"/>
                  </a:lnTo>
                  <a:lnTo>
                    <a:pt x="382" y="214"/>
                  </a:lnTo>
                  <a:lnTo>
                    <a:pt x="389" y="210"/>
                  </a:lnTo>
                  <a:lnTo>
                    <a:pt x="390" y="204"/>
                  </a:lnTo>
                  <a:lnTo>
                    <a:pt x="394" y="199"/>
                  </a:lnTo>
                  <a:lnTo>
                    <a:pt x="395" y="197"/>
                  </a:lnTo>
                  <a:lnTo>
                    <a:pt x="399" y="195"/>
                  </a:lnTo>
                  <a:lnTo>
                    <a:pt x="400" y="199"/>
                  </a:lnTo>
                  <a:lnTo>
                    <a:pt x="404" y="202"/>
                  </a:lnTo>
                  <a:lnTo>
                    <a:pt x="405" y="210"/>
                  </a:lnTo>
                  <a:lnTo>
                    <a:pt x="409" y="219"/>
                  </a:lnTo>
                  <a:lnTo>
                    <a:pt x="411" y="237"/>
                  </a:lnTo>
                  <a:lnTo>
                    <a:pt x="414" y="252"/>
                  </a:lnTo>
                  <a:lnTo>
                    <a:pt x="417" y="264"/>
                  </a:lnTo>
                  <a:lnTo>
                    <a:pt x="424" y="274"/>
                  </a:lnTo>
                  <a:lnTo>
                    <a:pt x="431" y="281"/>
                  </a:lnTo>
                  <a:lnTo>
                    <a:pt x="437" y="286"/>
                  </a:lnTo>
                  <a:lnTo>
                    <a:pt x="448" y="288"/>
                  </a:lnTo>
                  <a:lnTo>
                    <a:pt x="458" y="288"/>
                  </a:lnTo>
                  <a:lnTo>
                    <a:pt x="459" y="296"/>
                  </a:lnTo>
                  <a:lnTo>
                    <a:pt x="464" y="305"/>
                  </a:lnTo>
                  <a:lnTo>
                    <a:pt x="469" y="308"/>
                  </a:lnTo>
                  <a:lnTo>
                    <a:pt x="475" y="310"/>
                  </a:lnTo>
                  <a:lnTo>
                    <a:pt x="481" y="311"/>
                  </a:lnTo>
                  <a:lnTo>
                    <a:pt x="490" y="313"/>
                  </a:lnTo>
                  <a:lnTo>
                    <a:pt x="495" y="325"/>
                  </a:lnTo>
                  <a:lnTo>
                    <a:pt x="500" y="335"/>
                  </a:lnTo>
                  <a:lnTo>
                    <a:pt x="503" y="338"/>
                  </a:lnTo>
                  <a:lnTo>
                    <a:pt x="506" y="342"/>
                  </a:lnTo>
                  <a:lnTo>
                    <a:pt x="510" y="345"/>
                  </a:lnTo>
                  <a:lnTo>
                    <a:pt x="513" y="347"/>
                  </a:lnTo>
                  <a:lnTo>
                    <a:pt x="510" y="359"/>
                  </a:lnTo>
                  <a:lnTo>
                    <a:pt x="505" y="370"/>
                  </a:lnTo>
                  <a:lnTo>
                    <a:pt x="503" y="377"/>
                  </a:lnTo>
                  <a:lnTo>
                    <a:pt x="503" y="382"/>
                  </a:lnTo>
                  <a:lnTo>
                    <a:pt x="503" y="386"/>
                  </a:lnTo>
                  <a:lnTo>
                    <a:pt x="505" y="389"/>
                  </a:lnTo>
                  <a:lnTo>
                    <a:pt x="508" y="389"/>
                  </a:lnTo>
                  <a:lnTo>
                    <a:pt x="512" y="389"/>
                  </a:lnTo>
                  <a:lnTo>
                    <a:pt x="517" y="389"/>
                  </a:lnTo>
                  <a:lnTo>
                    <a:pt x="522" y="386"/>
                  </a:lnTo>
                  <a:lnTo>
                    <a:pt x="527" y="382"/>
                  </a:lnTo>
                  <a:lnTo>
                    <a:pt x="530" y="379"/>
                  </a:lnTo>
                  <a:lnTo>
                    <a:pt x="533" y="379"/>
                  </a:lnTo>
                  <a:lnTo>
                    <a:pt x="535" y="380"/>
                  </a:lnTo>
                  <a:lnTo>
                    <a:pt x="537" y="384"/>
                  </a:lnTo>
                  <a:lnTo>
                    <a:pt x="538" y="389"/>
                  </a:lnTo>
                  <a:lnTo>
                    <a:pt x="537" y="394"/>
                  </a:lnTo>
                  <a:lnTo>
                    <a:pt x="537" y="402"/>
                  </a:lnTo>
                  <a:lnTo>
                    <a:pt x="535" y="426"/>
                  </a:lnTo>
                  <a:lnTo>
                    <a:pt x="532" y="451"/>
                  </a:lnTo>
                  <a:lnTo>
                    <a:pt x="535" y="461"/>
                  </a:lnTo>
                  <a:lnTo>
                    <a:pt x="538" y="468"/>
                  </a:lnTo>
                  <a:lnTo>
                    <a:pt x="542" y="473"/>
                  </a:lnTo>
                  <a:lnTo>
                    <a:pt x="545" y="475"/>
                  </a:lnTo>
                  <a:lnTo>
                    <a:pt x="550" y="475"/>
                  </a:lnTo>
                  <a:lnTo>
                    <a:pt x="554" y="470"/>
                  </a:lnTo>
                  <a:lnTo>
                    <a:pt x="559" y="465"/>
                  </a:lnTo>
                  <a:lnTo>
                    <a:pt x="565" y="455"/>
                  </a:lnTo>
                  <a:lnTo>
                    <a:pt x="574" y="443"/>
                  </a:lnTo>
                  <a:lnTo>
                    <a:pt x="582" y="429"/>
                  </a:lnTo>
                  <a:lnTo>
                    <a:pt x="591" y="416"/>
                  </a:lnTo>
                  <a:lnTo>
                    <a:pt x="599" y="404"/>
                  </a:lnTo>
                  <a:lnTo>
                    <a:pt x="611" y="382"/>
                  </a:lnTo>
                  <a:lnTo>
                    <a:pt x="623" y="365"/>
                  </a:lnTo>
                  <a:lnTo>
                    <a:pt x="629" y="360"/>
                  </a:lnTo>
                  <a:lnTo>
                    <a:pt x="634" y="355"/>
                  </a:lnTo>
                  <a:lnTo>
                    <a:pt x="641" y="352"/>
                  </a:lnTo>
                  <a:lnTo>
                    <a:pt x="646" y="350"/>
                  </a:lnTo>
                  <a:lnTo>
                    <a:pt x="658" y="347"/>
                  </a:lnTo>
                  <a:lnTo>
                    <a:pt x="670" y="343"/>
                  </a:lnTo>
                  <a:lnTo>
                    <a:pt x="671" y="347"/>
                  </a:lnTo>
                  <a:lnTo>
                    <a:pt x="680" y="350"/>
                  </a:lnTo>
                  <a:lnTo>
                    <a:pt x="692" y="342"/>
                  </a:lnTo>
                  <a:lnTo>
                    <a:pt x="695" y="332"/>
                  </a:lnTo>
                  <a:lnTo>
                    <a:pt x="705" y="3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  <p:sp>
          <p:nvSpPr>
            <p:cNvPr id="13" name="Freeform 15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</p:grpSp>
      <p:sp>
        <p:nvSpPr>
          <p:cNvPr id="3081" name="Freeform 16"/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6623050" y="2406650"/>
            <a:ext cx="1193800" cy="969963"/>
          </a:xfrm>
          <a:custGeom>
            <a:avLst/>
            <a:gdLst>
              <a:gd name="T0" fmla="*/ 2147483647 w 754"/>
              <a:gd name="T1" fmla="*/ 2147483647 h 610"/>
              <a:gd name="T2" fmla="*/ 2147483647 w 754"/>
              <a:gd name="T3" fmla="*/ 2147483647 h 610"/>
              <a:gd name="T4" fmla="*/ 2147483647 w 754"/>
              <a:gd name="T5" fmla="*/ 2147483647 h 610"/>
              <a:gd name="T6" fmla="*/ 2147483647 w 754"/>
              <a:gd name="T7" fmla="*/ 2147483647 h 610"/>
              <a:gd name="T8" fmla="*/ 2147483647 w 754"/>
              <a:gd name="T9" fmla="*/ 2147483647 h 610"/>
              <a:gd name="T10" fmla="*/ 2147483647 w 754"/>
              <a:gd name="T11" fmla="*/ 2147483647 h 610"/>
              <a:gd name="T12" fmla="*/ 2147483647 w 754"/>
              <a:gd name="T13" fmla="*/ 2147483647 h 610"/>
              <a:gd name="T14" fmla="*/ 2147483647 w 754"/>
              <a:gd name="T15" fmla="*/ 2147483647 h 610"/>
              <a:gd name="T16" fmla="*/ 2147483647 w 754"/>
              <a:gd name="T17" fmla="*/ 2147483647 h 610"/>
              <a:gd name="T18" fmla="*/ 2147483647 w 754"/>
              <a:gd name="T19" fmla="*/ 2147483647 h 610"/>
              <a:gd name="T20" fmla="*/ 2147483647 w 754"/>
              <a:gd name="T21" fmla="*/ 2147483647 h 610"/>
              <a:gd name="T22" fmla="*/ 2147483647 w 754"/>
              <a:gd name="T23" fmla="*/ 2147483647 h 610"/>
              <a:gd name="T24" fmla="*/ 2147483647 w 754"/>
              <a:gd name="T25" fmla="*/ 2147483647 h 610"/>
              <a:gd name="T26" fmla="*/ 2147483647 w 754"/>
              <a:gd name="T27" fmla="*/ 2147483647 h 610"/>
              <a:gd name="T28" fmla="*/ 2147483647 w 754"/>
              <a:gd name="T29" fmla="*/ 2147483647 h 610"/>
              <a:gd name="T30" fmla="*/ 2147483647 w 754"/>
              <a:gd name="T31" fmla="*/ 2147483647 h 610"/>
              <a:gd name="T32" fmla="*/ 2147483647 w 754"/>
              <a:gd name="T33" fmla="*/ 2147483647 h 610"/>
              <a:gd name="T34" fmla="*/ 2147483647 w 754"/>
              <a:gd name="T35" fmla="*/ 2147483647 h 610"/>
              <a:gd name="T36" fmla="*/ 2147483647 w 754"/>
              <a:gd name="T37" fmla="*/ 2147483647 h 610"/>
              <a:gd name="T38" fmla="*/ 2147483647 w 754"/>
              <a:gd name="T39" fmla="*/ 2147483647 h 610"/>
              <a:gd name="T40" fmla="*/ 2147483647 w 754"/>
              <a:gd name="T41" fmla="*/ 2147483647 h 610"/>
              <a:gd name="T42" fmla="*/ 2147483647 w 754"/>
              <a:gd name="T43" fmla="*/ 2147483647 h 610"/>
              <a:gd name="T44" fmla="*/ 2147483647 w 754"/>
              <a:gd name="T45" fmla="*/ 2147483647 h 610"/>
              <a:gd name="T46" fmla="*/ 2147483647 w 754"/>
              <a:gd name="T47" fmla="*/ 2147483647 h 610"/>
              <a:gd name="T48" fmla="*/ 2147483647 w 754"/>
              <a:gd name="T49" fmla="*/ 2147483647 h 610"/>
              <a:gd name="T50" fmla="*/ 2147483647 w 754"/>
              <a:gd name="T51" fmla="*/ 2147483647 h 610"/>
              <a:gd name="T52" fmla="*/ 2147483647 w 754"/>
              <a:gd name="T53" fmla="*/ 2147483647 h 610"/>
              <a:gd name="T54" fmla="*/ 2147483647 w 754"/>
              <a:gd name="T55" fmla="*/ 2147483647 h 610"/>
              <a:gd name="T56" fmla="*/ 2147483647 w 754"/>
              <a:gd name="T57" fmla="*/ 2147483647 h 610"/>
              <a:gd name="T58" fmla="*/ 2147483647 w 754"/>
              <a:gd name="T59" fmla="*/ 2147483647 h 610"/>
              <a:gd name="T60" fmla="*/ 2147483647 w 754"/>
              <a:gd name="T61" fmla="*/ 2147483647 h 610"/>
              <a:gd name="T62" fmla="*/ 2147483647 w 754"/>
              <a:gd name="T63" fmla="*/ 2147483647 h 610"/>
              <a:gd name="T64" fmla="*/ 2147483647 w 754"/>
              <a:gd name="T65" fmla="*/ 2147483647 h 610"/>
              <a:gd name="T66" fmla="*/ 2147483647 w 754"/>
              <a:gd name="T67" fmla="*/ 2147483647 h 610"/>
              <a:gd name="T68" fmla="*/ 2147483647 w 754"/>
              <a:gd name="T69" fmla="*/ 2147483647 h 610"/>
              <a:gd name="T70" fmla="*/ 2147483647 w 754"/>
              <a:gd name="T71" fmla="*/ 2147483647 h 610"/>
              <a:gd name="T72" fmla="*/ 2147483647 w 754"/>
              <a:gd name="T73" fmla="*/ 2147483647 h 610"/>
              <a:gd name="T74" fmla="*/ 2147483647 w 754"/>
              <a:gd name="T75" fmla="*/ 2147483647 h 610"/>
              <a:gd name="T76" fmla="*/ 2147483647 w 754"/>
              <a:gd name="T77" fmla="*/ 2147483647 h 610"/>
              <a:gd name="T78" fmla="*/ 2147483647 w 754"/>
              <a:gd name="T79" fmla="*/ 2147483647 h 610"/>
              <a:gd name="T80" fmla="*/ 2147483647 w 754"/>
              <a:gd name="T81" fmla="*/ 2147483647 h 610"/>
              <a:gd name="T82" fmla="*/ 2147483647 w 754"/>
              <a:gd name="T83" fmla="*/ 2147483647 h 610"/>
              <a:gd name="T84" fmla="*/ 2147483647 w 754"/>
              <a:gd name="T85" fmla="*/ 2147483647 h 610"/>
              <a:gd name="T86" fmla="*/ 2147483647 w 754"/>
              <a:gd name="T87" fmla="*/ 2147483647 h 610"/>
              <a:gd name="T88" fmla="*/ 2147483647 w 754"/>
              <a:gd name="T89" fmla="*/ 2147483647 h 610"/>
              <a:gd name="T90" fmla="*/ 2147483647 w 754"/>
              <a:gd name="T91" fmla="*/ 2147483647 h 610"/>
              <a:gd name="T92" fmla="*/ 2147483647 w 754"/>
              <a:gd name="T93" fmla="*/ 2147483647 h 610"/>
              <a:gd name="T94" fmla="*/ 2147483647 w 754"/>
              <a:gd name="T95" fmla="*/ 2147483647 h 610"/>
              <a:gd name="T96" fmla="*/ 2147483647 w 754"/>
              <a:gd name="T97" fmla="*/ 2147483647 h 610"/>
              <a:gd name="T98" fmla="*/ 2147483647 w 754"/>
              <a:gd name="T99" fmla="*/ 2147483647 h 610"/>
              <a:gd name="T100" fmla="*/ 2147483647 w 754"/>
              <a:gd name="T101" fmla="*/ 2147483647 h 610"/>
              <a:gd name="T102" fmla="*/ 2147483647 w 754"/>
              <a:gd name="T103" fmla="*/ 2147483647 h 610"/>
              <a:gd name="T104" fmla="*/ 2147483647 w 754"/>
              <a:gd name="T105" fmla="*/ 2147483647 h 610"/>
              <a:gd name="T106" fmla="*/ 2147483647 w 754"/>
              <a:gd name="T107" fmla="*/ 2147483647 h 610"/>
              <a:gd name="T108" fmla="*/ 2147483647 w 754"/>
              <a:gd name="T109" fmla="*/ 2147483647 h 610"/>
              <a:gd name="T110" fmla="*/ 2147483647 w 754"/>
              <a:gd name="T111" fmla="*/ 2147483647 h 61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754"/>
              <a:gd name="T169" fmla="*/ 0 h 610"/>
              <a:gd name="T170" fmla="*/ 754 w 754"/>
              <a:gd name="T171" fmla="*/ 610 h 61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754" h="610">
                <a:moveTo>
                  <a:pt x="52" y="125"/>
                </a:moveTo>
                <a:lnTo>
                  <a:pt x="62" y="148"/>
                </a:lnTo>
                <a:lnTo>
                  <a:pt x="72" y="174"/>
                </a:lnTo>
                <a:lnTo>
                  <a:pt x="64" y="179"/>
                </a:lnTo>
                <a:lnTo>
                  <a:pt x="56" y="182"/>
                </a:lnTo>
                <a:lnTo>
                  <a:pt x="56" y="190"/>
                </a:lnTo>
                <a:lnTo>
                  <a:pt x="56" y="197"/>
                </a:lnTo>
                <a:lnTo>
                  <a:pt x="54" y="204"/>
                </a:lnTo>
                <a:lnTo>
                  <a:pt x="52" y="211"/>
                </a:lnTo>
                <a:lnTo>
                  <a:pt x="59" y="217"/>
                </a:lnTo>
                <a:lnTo>
                  <a:pt x="66" y="224"/>
                </a:lnTo>
                <a:lnTo>
                  <a:pt x="69" y="226"/>
                </a:lnTo>
                <a:lnTo>
                  <a:pt x="74" y="226"/>
                </a:lnTo>
                <a:lnTo>
                  <a:pt x="77" y="226"/>
                </a:lnTo>
                <a:lnTo>
                  <a:pt x="81" y="224"/>
                </a:lnTo>
                <a:lnTo>
                  <a:pt x="89" y="222"/>
                </a:lnTo>
                <a:lnTo>
                  <a:pt x="98" y="222"/>
                </a:lnTo>
                <a:lnTo>
                  <a:pt x="106" y="224"/>
                </a:lnTo>
                <a:lnTo>
                  <a:pt x="113" y="226"/>
                </a:lnTo>
                <a:lnTo>
                  <a:pt x="118" y="229"/>
                </a:lnTo>
                <a:lnTo>
                  <a:pt x="123" y="234"/>
                </a:lnTo>
                <a:lnTo>
                  <a:pt x="125" y="241"/>
                </a:lnTo>
                <a:lnTo>
                  <a:pt x="128" y="249"/>
                </a:lnTo>
                <a:lnTo>
                  <a:pt x="130" y="265"/>
                </a:lnTo>
                <a:lnTo>
                  <a:pt x="135" y="276"/>
                </a:lnTo>
                <a:lnTo>
                  <a:pt x="136" y="281"/>
                </a:lnTo>
                <a:lnTo>
                  <a:pt x="140" y="285"/>
                </a:lnTo>
                <a:lnTo>
                  <a:pt x="145" y="286"/>
                </a:lnTo>
                <a:lnTo>
                  <a:pt x="148" y="288"/>
                </a:lnTo>
                <a:lnTo>
                  <a:pt x="153" y="278"/>
                </a:lnTo>
                <a:lnTo>
                  <a:pt x="158" y="270"/>
                </a:lnTo>
                <a:lnTo>
                  <a:pt x="163" y="263"/>
                </a:lnTo>
                <a:lnTo>
                  <a:pt x="168" y="259"/>
                </a:lnTo>
                <a:lnTo>
                  <a:pt x="163" y="251"/>
                </a:lnTo>
                <a:lnTo>
                  <a:pt x="158" y="243"/>
                </a:lnTo>
                <a:lnTo>
                  <a:pt x="165" y="239"/>
                </a:lnTo>
                <a:lnTo>
                  <a:pt x="172" y="236"/>
                </a:lnTo>
                <a:lnTo>
                  <a:pt x="182" y="234"/>
                </a:lnTo>
                <a:lnTo>
                  <a:pt x="192" y="236"/>
                </a:lnTo>
                <a:lnTo>
                  <a:pt x="192" y="248"/>
                </a:lnTo>
                <a:lnTo>
                  <a:pt x="194" y="259"/>
                </a:lnTo>
                <a:lnTo>
                  <a:pt x="202" y="266"/>
                </a:lnTo>
                <a:lnTo>
                  <a:pt x="209" y="273"/>
                </a:lnTo>
                <a:lnTo>
                  <a:pt x="215" y="270"/>
                </a:lnTo>
                <a:lnTo>
                  <a:pt x="219" y="266"/>
                </a:lnTo>
                <a:lnTo>
                  <a:pt x="222" y="263"/>
                </a:lnTo>
                <a:lnTo>
                  <a:pt x="226" y="258"/>
                </a:lnTo>
                <a:lnTo>
                  <a:pt x="226" y="251"/>
                </a:lnTo>
                <a:lnTo>
                  <a:pt x="226" y="244"/>
                </a:lnTo>
                <a:lnTo>
                  <a:pt x="224" y="238"/>
                </a:lnTo>
                <a:lnTo>
                  <a:pt x="222" y="229"/>
                </a:lnTo>
                <a:lnTo>
                  <a:pt x="215" y="229"/>
                </a:lnTo>
                <a:lnTo>
                  <a:pt x="210" y="226"/>
                </a:lnTo>
                <a:lnTo>
                  <a:pt x="207" y="222"/>
                </a:lnTo>
                <a:lnTo>
                  <a:pt x="205" y="216"/>
                </a:lnTo>
                <a:lnTo>
                  <a:pt x="190" y="216"/>
                </a:lnTo>
                <a:lnTo>
                  <a:pt x="173" y="217"/>
                </a:lnTo>
                <a:lnTo>
                  <a:pt x="158" y="217"/>
                </a:lnTo>
                <a:lnTo>
                  <a:pt x="143" y="217"/>
                </a:lnTo>
                <a:lnTo>
                  <a:pt x="143" y="212"/>
                </a:lnTo>
                <a:lnTo>
                  <a:pt x="145" y="206"/>
                </a:lnTo>
                <a:lnTo>
                  <a:pt x="148" y="201"/>
                </a:lnTo>
                <a:lnTo>
                  <a:pt x="152" y="194"/>
                </a:lnTo>
                <a:lnTo>
                  <a:pt x="163" y="182"/>
                </a:lnTo>
                <a:lnTo>
                  <a:pt x="177" y="172"/>
                </a:lnTo>
                <a:lnTo>
                  <a:pt x="170" y="165"/>
                </a:lnTo>
                <a:lnTo>
                  <a:pt x="165" y="158"/>
                </a:lnTo>
                <a:lnTo>
                  <a:pt x="163" y="150"/>
                </a:lnTo>
                <a:lnTo>
                  <a:pt x="165" y="140"/>
                </a:lnTo>
                <a:lnTo>
                  <a:pt x="155" y="130"/>
                </a:lnTo>
                <a:lnTo>
                  <a:pt x="148" y="121"/>
                </a:lnTo>
                <a:lnTo>
                  <a:pt x="143" y="115"/>
                </a:lnTo>
                <a:lnTo>
                  <a:pt x="141" y="108"/>
                </a:lnTo>
                <a:lnTo>
                  <a:pt x="140" y="96"/>
                </a:lnTo>
                <a:lnTo>
                  <a:pt x="136" y="86"/>
                </a:lnTo>
                <a:lnTo>
                  <a:pt x="121" y="86"/>
                </a:lnTo>
                <a:lnTo>
                  <a:pt x="104" y="88"/>
                </a:lnTo>
                <a:lnTo>
                  <a:pt x="104" y="81"/>
                </a:lnTo>
                <a:lnTo>
                  <a:pt x="104" y="74"/>
                </a:lnTo>
                <a:lnTo>
                  <a:pt x="91" y="78"/>
                </a:lnTo>
                <a:lnTo>
                  <a:pt x="77" y="81"/>
                </a:lnTo>
                <a:lnTo>
                  <a:pt x="66" y="79"/>
                </a:lnTo>
                <a:lnTo>
                  <a:pt x="56" y="78"/>
                </a:lnTo>
                <a:lnTo>
                  <a:pt x="56" y="76"/>
                </a:lnTo>
                <a:lnTo>
                  <a:pt x="57" y="73"/>
                </a:lnTo>
                <a:lnTo>
                  <a:pt x="61" y="71"/>
                </a:lnTo>
                <a:lnTo>
                  <a:pt x="66" y="69"/>
                </a:lnTo>
                <a:lnTo>
                  <a:pt x="76" y="64"/>
                </a:lnTo>
                <a:lnTo>
                  <a:pt x="91" y="59"/>
                </a:lnTo>
                <a:lnTo>
                  <a:pt x="125" y="51"/>
                </a:lnTo>
                <a:lnTo>
                  <a:pt x="162" y="41"/>
                </a:lnTo>
                <a:lnTo>
                  <a:pt x="163" y="32"/>
                </a:lnTo>
                <a:lnTo>
                  <a:pt x="165" y="24"/>
                </a:lnTo>
                <a:lnTo>
                  <a:pt x="173" y="27"/>
                </a:lnTo>
                <a:lnTo>
                  <a:pt x="187" y="27"/>
                </a:lnTo>
                <a:lnTo>
                  <a:pt x="202" y="27"/>
                </a:lnTo>
                <a:lnTo>
                  <a:pt x="217" y="27"/>
                </a:lnTo>
                <a:lnTo>
                  <a:pt x="224" y="36"/>
                </a:lnTo>
                <a:lnTo>
                  <a:pt x="231" y="42"/>
                </a:lnTo>
                <a:lnTo>
                  <a:pt x="236" y="44"/>
                </a:lnTo>
                <a:lnTo>
                  <a:pt x="239" y="44"/>
                </a:lnTo>
                <a:lnTo>
                  <a:pt x="242" y="44"/>
                </a:lnTo>
                <a:lnTo>
                  <a:pt x="246" y="42"/>
                </a:lnTo>
                <a:lnTo>
                  <a:pt x="247" y="47"/>
                </a:lnTo>
                <a:lnTo>
                  <a:pt x="251" y="51"/>
                </a:lnTo>
                <a:lnTo>
                  <a:pt x="254" y="54"/>
                </a:lnTo>
                <a:lnTo>
                  <a:pt x="258" y="57"/>
                </a:lnTo>
                <a:lnTo>
                  <a:pt x="266" y="61"/>
                </a:lnTo>
                <a:lnTo>
                  <a:pt x="276" y="62"/>
                </a:lnTo>
                <a:lnTo>
                  <a:pt x="285" y="61"/>
                </a:lnTo>
                <a:lnTo>
                  <a:pt x="293" y="59"/>
                </a:lnTo>
                <a:lnTo>
                  <a:pt x="300" y="54"/>
                </a:lnTo>
                <a:lnTo>
                  <a:pt x="305" y="47"/>
                </a:lnTo>
                <a:lnTo>
                  <a:pt x="311" y="44"/>
                </a:lnTo>
                <a:lnTo>
                  <a:pt x="320" y="44"/>
                </a:lnTo>
                <a:lnTo>
                  <a:pt x="323" y="42"/>
                </a:lnTo>
                <a:lnTo>
                  <a:pt x="327" y="41"/>
                </a:lnTo>
                <a:lnTo>
                  <a:pt x="327" y="36"/>
                </a:lnTo>
                <a:lnTo>
                  <a:pt x="327" y="29"/>
                </a:lnTo>
                <a:lnTo>
                  <a:pt x="310" y="29"/>
                </a:lnTo>
                <a:lnTo>
                  <a:pt x="293" y="27"/>
                </a:lnTo>
                <a:lnTo>
                  <a:pt x="278" y="25"/>
                </a:lnTo>
                <a:lnTo>
                  <a:pt x="261" y="25"/>
                </a:lnTo>
                <a:lnTo>
                  <a:pt x="253" y="22"/>
                </a:lnTo>
                <a:lnTo>
                  <a:pt x="249" y="20"/>
                </a:lnTo>
                <a:lnTo>
                  <a:pt x="253" y="19"/>
                </a:lnTo>
                <a:lnTo>
                  <a:pt x="259" y="15"/>
                </a:lnTo>
                <a:lnTo>
                  <a:pt x="286" y="15"/>
                </a:lnTo>
                <a:lnTo>
                  <a:pt x="313" y="17"/>
                </a:lnTo>
                <a:lnTo>
                  <a:pt x="340" y="17"/>
                </a:lnTo>
                <a:lnTo>
                  <a:pt x="367" y="17"/>
                </a:lnTo>
                <a:lnTo>
                  <a:pt x="374" y="9"/>
                </a:lnTo>
                <a:lnTo>
                  <a:pt x="380" y="0"/>
                </a:lnTo>
                <a:lnTo>
                  <a:pt x="396" y="2"/>
                </a:lnTo>
                <a:lnTo>
                  <a:pt x="411" y="4"/>
                </a:lnTo>
                <a:lnTo>
                  <a:pt x="416" y="4"/>
                </a:lnTo>
                <a:lnTo>
                  <a:pt x="419" y="4"/>
                </a:lnTo>
                <a:lnTo>
                  <a:pt x="421" y="5"/>
                </a:lnTo>
                <a:lnTo>
                  <a:pt x="423" y="7"/>
                </a:lnTo>
                <a:lnTo>
                  <a:pt x="424" y="12"/>
                </a:lnTo>
                <a:lnTo>
                  <a:pt x="423" y="19"/>
                </a:lnTo>
                <a:lnTo>
                  <a:pt x="424" y="25"/>
                </a:lnTo>
                <a:lnTo>
                  <a:pt x="426" y="30"/>
                </a:lnTo>
                <a:lnTo>
                  <a:pt x="428" y="34"/>
                </a:lnTo>
                <a:lnTo>
                  <a:pt x="433" y="36"/>
                </a:lnTo>
                <a:lnTo>
                  <a:pt x="441" y="39"/>
                </a:lnTo>
                <a:lnTo>
                  <a:pt x="453" y="41"/>
                </a:lnTo>
                <a:lnTo>
                  <a:pt x="460" y="41"/>
                </a:lnTo>
                <a:lnTo>
                  <a:pt x="466" y="41"/>
                </a:lnTo>
                <a:lnTo>
                  <a:pt x="470" y="41"/>
                </a:lnTo>
                <a:lnTo>
                  <a:pt x="473" y="42"/>
                </a:lnTo>
                <a:lnTo>
                  <a:pt x="476" y="46"/>
                </a:lnTo>
                <a:lnTo>
                  <a:pt x="476" y="49"/>
                </a:lnTo>
                <a:lnTo>
                  <a:pt x="476" y="54"/>
                </a:lnTo>
                <a:lnTo>
                  <a:pt x="476" y="59"/>
                </a:lnTo>
                <a:lnTo>
                  <a:pt x="475" y="62"/>
                </a:lnTo>
                <a:lnTo>
                  <a:pt x="476" y="66"/>
                </a:lnTo>
                <a:lnTo>
                  <a:pt x="480" y="69"/>
                </a:lnTo>
                <a:lnTo>
                  <a:pt x="483" y="71"/>
                </a:lnTo>
                <a:lnTo>
                  <a:pt x="495" y="78"/>
                </a:lnTo>
                <a:lnTo>
                  <a:pt x="508" y="81"/>
                </a:lnTo>
                <a:lnTo>
                  <a:pt x="522" y="83"/>
                </a:lnTo>
                <a:lnTo>
                  <a:pt x="537" y="88"/>
                </a:lnTo>
                <a:lnTo>
                  <a:pt x="552" y="93"/>
                </a:lnTo>
                <a:lnTo>
                  <a:pt x="567" y="99"/>
                </a:lnTo>
                <a:lnTo>
                  <a:pt x="589" y="115"/>
                </a:lnTo>
                <a:lnTo>
                  <a:pt x="609" y="130"/>
                </a:lnTo>
                <a:lnTo>
                  <a:pt x="625" y="130"/>
                </a:lnTo>
                <a:lnTo>
                  <a:pt x="636" y="131"/>
                </a:lnTo>
                <a:lnTo>
                  <a:pt x="648" y="133"/>
                </a:lnTo>
                <a:lnTo>
                  <a:pt x="658" y="135"/>
                </a:lnTo>
                <a:lnTo>
                  <a:pt x="667" y="140"/>
                </a:lnTo>
                <a:lnTo>
                  <a:pt x="675" y="143"/>
                </a:lnTo>
                <a:lnTo>
                  <a:pt x="682" y="150"/>
                </a:lnTo>
                <a:lnTo>
                  <a:pt x="688" y="155"/>
                </a:lnTo>
                <a:lnTo>
                  <a:pt x="704" y="153"/>
                </a:lnTo>
                <a:lnTo>
                  <a:pt x="717" y="153"/>
                </a:lnTo>
                <a:lnTo>
                  <a:pt x="731" y="155"/>
                </a:lnTo>
                <a:lnTo>
                  <a:pt x="744" y="160"/>
                </a:lnTo>
                <a:lnTo>
                  <a:pt x="751" y="172"/>
                </a:lnTo>
                <a:lnTo>
                  <a:pt x="754" y="184"/>
                </a:lnTo>
                <a:lnTo>
                  <a:pt x="754" y="192"/>
                </a:lnTo>
                <a:lnTo>
                  <a:pt x="752" y="201"/>
                </a:lnTo>
                <a:lnTo>
                  <a:pt x="737" y="197"/>
                </a:lnTo>
                <a:lnTo>
                  <a:pt x="724" y="197"/>
                </a:lnTo>
                <a:lnTo>
                  <a:pt x="717" y="199"/>
                </a:lnTo>
                <a:lnTo>
                  <a:pt x="712" y="201"/>
                </a:lnTo>
                <a:lnTo>
                  <a:pt x="707" y="206"/>
                </a:lnTo>
                <a:lnTo>
                  <a:pt x="704" y="211"/>
                </a:lnTo>
                <a:lnTo>
                  <a:pt x="694" y="233"/>
                </a:lnTo>
                <a:lnTo>
                  <a:pt x="683" y="253"/>
                </a:lnTo>
                <a:lnTo>
                  <a:pt x="672" y="270"/>
                </a:lnTo>
                <a:lnTo>
                  <a:pt x="658" y="286"/>
                </a:lnTo>
                <a:lnTo>
                  <a:pt x="667" y="285"/>
                </a:lnTo>
                <a:lnTo>
                  <a:pt x="677" y="281"/>
                </a:lnTo>
                <a:lnTo>
                  <a:pt x="677" y="298"/>
                </a:lnTo>
                <a:lnTo>
                  <a:pt x="678" y="313"/>
                </a:lnTo>
                <a:lnTo>
                  <a:pt x="680" y="318"/>
                </a:lnTo>
                <a:lnTo>
                  <a:pt x="683" y="323"/>
                </a:lnTo>
                <a:lnTo>
                  <a:pt x="687" y="327"/>
                </a:lnTo>
                <a:lnTo>
                  <a:pt x="692" y="329"/>
                </a:lnTo>
                <a:lnTo>
                  <a:pt x="694" y="340"/>
                </a:lnTo>
                <a:lnTo>
                  <a:pt x="694" y="349"/>
                </a:lnTo>
                <a:lnTo>
                  <a:pt x="692" y="354"/>
                </a:lnTo>
                <a:lnTo>
                  <a:pt x="687" y="359"/>
                </a:lnTo>
                <a:lnTo>
                  <a:pt x="682" y="361"/>
                </a:lnTo>
                <a:lnTo>
                  <a:pt x="675" y="362"/>
                </a:lnTo>
                <a:lnTo>
                  <a:pt x="667" y="362"/>
                </a:lnTo>
                <a:lnTo>
                  <a:pt x="658" y="362"/>
                </a:lnTo>
                <a:lnTo>
                  <a:pt x="658" y="357"/>
                </a:lnTo>
                <a:lnTo>
                  <a:pt x="657" y="352"/>
                </a:lnTo>
                <a:lnTo>
                  <a:pt x="633" y="352"/>
                </a:lnTo>
                <a:lnTo>
                  <a:pt x="609" y="352"/>
                </a:lnTo>
                <a:lnTo>
                  <a:pt x="606" y="344"/>
                </a:lnTo>
                <a:lnTo>
                  <a:pt x="603" y="335"/>
                </a:lnTo>
                <a:lnTo>
                  <a:pt x="589" y="332"/>
                </a:lnTo>
                <a:lnTo>
                  <a:pt x="577" y="329"/>
                </a:lnTo>
                <a:lnTo>
                  <a:pt x="564" y="325"/>
                </a:lnTo>
                <a:lnTo>
                  <a:pt x="552" y="322"/>
                </a:lnTo>
                <a:lnTo>
                  <a:pt x="561" y="332"/>
                </a:lnTo>
                <a:lnTo>
                  <a:pt x="569" y="340"/>
                </a:lnTo>
                <a:lnTo>
                  <a:pt x="574" y="344"/>
                </a:lnTo>
                <a:lnTo>
                  <a:pt x="579" y="347"/>
                </a:lnTo>
                <a:lnTo>
                  <a:pt x="584" y="349"/>
                </a:lnTo>
                <a:lnTo>
                  <a:pt x="591" y="350"/>
                </a:lnTo>
                <a:lnTo>
                  <a:pt x="591" y="357"/>
                </a:lnTo>
                <a:lnTo>
                  <a:pt x="591" y="366"/>
                </a:lnTo>
                <a:lnTo>
                  <a:pt x="601" y="364"/>
                </a:lnTo>
                <a:lnTo>
                  <a:pt x="609" y="362"/>
                </a:lnTo>
                <a:lnTo>
                  <a:pt x="613" y="366"/>
                </a:lnTo>
                <a:lnTo>
                  <a:pt x="618" y="367"/>
                </a:lnTo>
                <a:lnTo>
                  <a:pt x="626" y="367"/>
                </a:lnTo>
                <a:lnTo>
                  <a:pt x="641" y="366"/>
                </a:lnTo>
                <a:lnTo>
                  <a:pt x="646" y="382"/>
                </a:lnTo>
                <a:lnTo>
                  <a:pt x="651" y="399"/>
                </a:lnTo>
                <a:lnTo>
                  <a:pt x="651" y="404"/>
                </a:lnTo>
                <a:lnTo>
                  <a:pt x="651" y="409"/>
                </a:lnTo>
                <a:lnTo>
                  <a:pt x="651" y="413"/>
                </a:lnTo>
                <a:lnTo>
                  <a:pt x="650" y="416"/>
                </a:lnTo>
                <a:lnTo>
                  <a:pt x="646" y="418"/>
                </a:lnTo>
                <a:lnTo>
                  <a:pt x="641" y="418"/>
                </a:lnTo>
                <a:lnTo>
                  <a:pt x="633" y="416"/>
                </a:lnTo>
                <a:lnTo>
                  <a:pt x="623" y="413"/>
                </a:lnTo>
                <a:lnTo>
                  <a:pt x="611" y="411"/>
                </a:lnTo>
                <a:lnTo>
                  <a:pt x="599" y="411"/>
                </a:lnTo>
                <a:lnTo>
                  <a:pt x="589" y="414"/>
                </a:lnTo>
                <a:lnTo>
                  <a:pt x="581" y="419"/>
                </a:lnTo>
                <a:lnTo>
                  <a:pt x="564" y="435"/>
                </a:lnTo>
                <a:lnTo>
                  <a:pt x="549" y="446"/>
                </a:lnTo>
                <a:lnTo>
                  <a:pt x="544" y="451"/>
                </a:lnTo>
                <a:lnTo>
                  <a:pt x="537" y="453"/>
                </a:lnTo>
                <a:lnTo>
                  <a:pt x="530" y="455"/>
                </a:lnTo>
                <a:lnTo>
                  <a:pt x="525" y="455"/>
                </a:lnTo>
                <a:lnTo>
                  <a:pt x="520" y="455"/>
                </a:lnTo>
                <a:lnTo>
                  <a:pt x="518" y="453"/>
                </a:lnTo>
                <a:lnTo>
                  <a:pt x="520" y="451"/>
                </a:lnTo>
                <a:lnTo>
                  <a:pt x="522" y="451"/>
                </a:lnTo>
                <a:lnTo>
                  <a:pt x="527" y="450"/>
                </a:lnTo>
                <a:lnTo>
                  <a:pt x="529" y="450"/>
                </a:lnTo>
                <a:lnTo>
                  <a:pt x="545" y="443"/>
                </a:lnTo>
                <a:lnTo>
                  <a:pt x="545" y="435"/>
                </a:lnTo>
                <a:lnTo>
                  <a:pt x="539" y="433"/>
                </a:lnTo>
                <a:lnTo>
                  <a:pt x="532" y="440"/>
                </a:lnTo>
                <a:lnTo>
                  <a:pt x="524" y="438"/>
                </a:lnTo>
                <a:lnTo>
                  <a:pt x="518" y="433"/>
                </a:lnTo>
                <a:lnTo>
                  <a:pt x="512" y="435"/>
                </a:lnTo>
                <a:lnTo>
                  <a:pt x="507" y="445"/>
                </a:lnTo>
                <a:lnTo>
                  <a:pt x="495" y="441"/>
                </a:lnTo>
                <a:lnTo>
                  <a:pt x="487" y="438"/>
                </a:lnTo>
                <a:lnTo>
                  <a:pt x="488" y="428"/>
                </a:lnTo>
                <a:lnTo>
                  <a:pt x="481" y="426"/>
                </a:lnTo>
                <a:lnTo>
                  <a:pt x="473" y="419"/>
                </a:lnTo>
                <a:lnTo>
                  <a:pt x="475" y="414"/>
                </a:lnTo>
                <a:lnTo>
                  <a:pt x="471" y="408"/>
                </a:lnTo>
                <a:lnTo>
                  <a:pt x="465" y="411"/>
                </a:lnTo>
                <a:lnTo>
                  <a:pt x="458" y="413"/>
                </a:lnTo>
                <a:lnTo>
                  <a:pt x="451" y="413"/>
                </a:lnTo>
                <a:lnTo>
                  <a:pt x="449" y="413"/>
                </a:lnTo>
                <a:lnTo>
                  <a:pt x="443" y="421"/>
                </a:lnTo>
                <a:lnTo>
                  <a:pt x="428" y="416"/>
                </a:lnTo>
                <a:lnTo>
                  <a:pt x="409" y="426"/>
                </a:lnTo>
                <a:lnTo>
                  <a:pt x="431" y="428"/>
                </a:lnTo>
                <a:lnTo>
                  <a:pt x="434" y="440"/>
                </a:lnTo>
                <a:lnTo>
                  <a:pt x="471" y="436"/>
                </a:lnTo>
                <a:lnTo>
                  <a:pt x="473" y="453"/>
                </a:lnTo>
                <a:lnTo>
                  <a:pt x="485" y="457"/>
                </a:lnTo>
                <a:lnTo>
                  <a:pt x="493" y="462"/>
                </a:lnTo>
                <a:lnTo>
                  <a:pt x="495" y="472"/>
                </a:lnTo>
                <a:lnTo>
                  <a:pt x="485" y="470"/>
                </a:lnTo>
                <a:lnTo>
                  <a:pt x="476" y="472"/>
                </a:lnTo>
                <a:lnTo>
                  <a:pt x="480" y="478"/>
                </a:lnTo>
                <a:lnTo>
                  <a:pt x="468" y="482"/>
                </a:lnTo>
                <a:lnTo>
                  <a:pt x="456" y="485"/>
                </a:lnTo>
                <a:lnTo>
                  <a:pt x="451" y="487"/>
                </a:lnTo>
                <a:lnTo>
                  <a:pt x="444" y="490"/>
                </a:lnTo>
                <a:lnTo>
                  <a:pt x="439" y="495"/>
                </a:lnTo>
                <a:lnTo>
                  <a:pt x="433" y="500"/>
                </a:lnTo>
                <a:lnTo>
                  <a:pt x="421" y="517"/>
                </a:lnTo>
                <a:lnTo>
                  <a:pt x="409" y="539"/>
                </a:lnTo>
                <a:lnTo>
                  <a:pt x="401" y="551"/>
                </a:lnTo>
                <a:lnTo>
                  <a:pt x="392" y="564"/>
                </a:lnTo>
                <a:lnTo>
                  <a:pt x="384" y="578"/>
                </a:lnTo>
                <a:lnTo>
                  <a:pt x="375" y="590"/>
                </a:lnTo>
                <a:lnTo>
                  <a:pt x="369" y="600"/>
                </a:lnTo>
                <a:lnTo>
                  <a:pt x="364" y="605"/>
                </a:lnTo>
                <a:lnTo>
                  <a:pt x="360" y="610"/>
                </a:lnTo>
                <a:lnTo>
                  <a:pt x="355" y="610"/>
                </a:lnTo>
                <a:lnTo>
                  <a:pt x="352" y="608"/>
                </a:lnTo>
                <a:lnTo>
                  <a:pt x="348" y="603"/>
                </a:lnTo>
                <a:lnTo>
                  <a:pt x="345" y="596"/>
                </a:lnTo>
                <a:lnTo>
                  <a:pt x="342" y="586"/>
                </a:lnTo>
                <a:lnTo>
                  <a:pt x="345" y="561"/>
                </a:lnTo>
                <a:lnTo>
                  <a:pt x="347" y="537"/>
                </a:lnTo>
                <a:lnTo>
                  <a:pt x="347" y="529"/>
                </a:lnTo>
                <a:lnTo>
                  <a:pt x="348" y="524"/>
                </a:lnTo>
                <a:lnTo>
                  <a:pt x="347" y="519"/>
                </a:lnTo>
                <a:lnTo>
                  <a:pt x="345" y="515"/>
                </a:lnTo>
                <a:lnTo>
                  <a:pt x="343" y="514"/>
                </a:lnTo>
                <a:lnTo>
                  <a:pt x="340" y="514"/>
                </a:lnTo>
                <a:lnTo>
                  <a:pt x="337" y="517"/>
                </a:lnTo>
                <a:lnTo>
                  <a:pt x="332" y="521"/>
                </a:lnTo>
                <a:lnTo>
                  <a:pt x="327" y="524"/>
                </a:lnTo>
                <a:lnTo>
                  <a:pt x="322" y="524"/>
                </a:lnTo>
                <a:lnTo>
                  <a:pt x="318" y="524"/>
                </a:lnTo>
                <a:lnTo>
                  <a:pt x="315" y="524"/>
                </a:lnTo>
                <a:lnTo>
                  <a:pt x="313" y="521"/>
                </a:lnTo>
                <a:lnTo>
                  <a:pt x="313" y="517"/>
                </a:lnTo>
                <a:lnTo>
                  <a:pt x="313" y="512"/>
                </a:lnTo>
                <a:lnTo>
                  <a:pt x="315" y="505"/>
                </a:lnTo>
                <a:lnTo>
                  <a:pt x="320" y="494"/>
                </a:lnTo>
                <a:lnTo>
                  <a:pt x="323" y="482"/>
                </a:lnTo>
                <a:lnTo>
                  <a:pt x="320" y="480"/>
                </a:lnTo>
                <a:lnTo>
                  <a:pt x="316" y="477"/>
                </a:lnTo>
                <a:lnTo>
                  <a:pt x="313" y="473"/>
                </a:lnTo>
                <a:lnTo>
                  <a:pt x="310" y="470"/>
                </a:lnTo>
                <a:lnTo>
                  <a:pt x="305" y="460"/>
                </a:lnTo>
                <a:lnTo>
                  <a:pt x="300" y="448"/>
                </a:lnTo>
                <a:lnTo>
                  <a:pt x="291" y="446"/>
                </a:lnTo>
                <a:lnTo>
                  <a:pt x="285" y="445"/>
                </a:lnTo>
                <a:lnTo>
                  <a:pt x="279" y="443"/>
                </a:lnTo>
                <a:lnTo>
                  <a:pt x="274" y="440"/>
                </a:lnTo>
                <a:lnTo>
                  <a:pt x="269" y="431"/>
                </a:lnTo>
                <a:lnTo>
                  <a:pt x="268" y="423"/>
                </a:lnTo>
                <a:lnTo>
                  <a:pt x="258" y="423"/>
                </a:lnTo>
                <a:lnTo>
                  <a:pt x="247" y="421"/>
                </a:lnTo>
                <a:lnTo>
                  <a:pt x="241" y="416"/>
                </a:lnTo>
                <a:lnTo>
                  <a:pt x="234" y="409"/>
                </a:lnTo>
                <a:lnTo>
                  <a:pt x="227" y="399"/>
                </a:lnTo>
                <a:lnTo>
                  <a:pt x="224" y="387"/>
                </a:lnTo>
                <a:lnTo>
                  <a:pt x="221" y="372"/>
                </a:lnTo>
                <a:lnTo>
                  <a:pt x="219" y="354"/>
                </a:lnTo>
                <a:lnTo>
                  <a:pt x="215" y="345"/>
                </a:lnTo>
                <a:lnTo>
                  <a:pt x="214" y="337"/>
                </a:lnTo>
                <a:lnTo>
                  <a:pt x="210" y="334"/>
                </a:lnTo>
                <a:lnTo>
                  <a:pt x="209" y="330"/>
                </a:lnTo>
                <a:lnTo>
                  <a:pt x="205" y="332"/>
                </a:lnTo>
                <a:lnTo>
                  <a:pt x="204" y="334"/>
                </a:lnTo>
                <a:lnTo>
                  <a:pt x="200" y="339"/>
                </a:lnTo>
                <a:lnTo>
                  <a:pt x="199" y="345"/>
                </a:lnTo>
                <a:lnTo>
                  <a:pt x="192" y="349"/>
                </a:lnTo>
                <a:lnTo>
                  <a:pt x="187" y="354"/>
                </a:lnTo>
                <a:lnTo>
                  <a:pt x="184" y="362"/>
                </a:lnTo>
                <a:lnTo>
                  <a:pt x="182" y="374"/>
                </a:lnTo>
                <a:lnTo>
                  <a:pt x="180" y="398"/>
                </a:lnTo>
                <a:lnTo>
                  <a:pt x="178" y="423"/>
                </a:lnTo>
                <a:lnTo>
                  <a:pt x="177" y="431"/>
                </a:lnTo>
                <a:lnTo>
                  <a:pt x="177" y="438"/>
                </a:lnTo>
                <a:lnTo>
                  <a:pt x="177" y="443"/>
                </a:lnTo>
                <a:lnTo>
                  <a:pt x="178" y="446"/>
                </a:lnTo>
                <a:lnTo>
                  <a:pt x="182" y="448"/>
                </a:lnTo>
                <a:lnTo>
                  <a:pt x="185" y="448"/>
                </a:lnTo>
                <a:lnTo>
                  <a:pt x="190" y="446"/>
                </a:lnTo>
                <a:lnTo>
                  <a:pt x="197" y="443"/>
                </a:lnTo>
                <a:lnTo>
                  <a:pt x="205" y="438"/>
                </a:lnTo>
                <a:lnTo>
                  <a:pt x="212" y="436"/>
                </a:lnTo>
                <a:lnTo>
                  <a:pt x="217" y="436"/>
                </a:lnTo>
                <a:lnTo>
                  <a:pt x="221" y="440"/>
                </a:lnTo>
                <a:lnTo>
                  <a:pt x="221" y="445"/>
                </a:lnTo>
                <a:lnTo>
                  <a:pt x="219" y="451"/>
                </a:lnTo>
                <a:lnTo>
                  <a:pt x="215" y="458"/>
                </a:lnTo>
                <a:lnTo>
                  <a:pt x="210" y="465"/>
                </a:lnTo>
                <a:lnTo>
                  <a:pt x="190" y="490"/>
                </a:lnTo>
                <a:lnTo>
                  <a:pt x="168" y="515"/>
                </a:lnTo>
                <a:lnTo>
                  <a:pt x="163" y="522"/>
                </a:lnTo>
                <a:lnTo>
                  <a:pt x="157" y="526"/>
                </a:lnTo>
                <a:lnTo>
                  <a:pt x="153" y="526"/>
                </a:lnTo>
                <a:lnTo>
                  <a:pt x="148" y="524"/>
                </a:lnTo>
                <a:lnTo>
                  <a:pt x="143" y="521"/>
                </a:lnTo>
                <a:lnTo>
                  <a:pt x="138" y="515"/>
                </a:lnTo>
                <a:lnTo>
                  <a:pt x="131" y="504"/>
                </a:lnTo>
                <a:lnTo>
                  <a:pt x="123" y="495"/>
                </a:lnTo>
                <a:lnTo>
                  <a:pt x="114" y="487"/>
                </a:lnTo>
                <a:lnTo>
                  <a:pt x="106" y="478"/>
                </a:lnTo>
                <a:lnTo>
                  <a:pt x="89" y="467"/>
                </a:lnTo>
                <a:lnTo>
                  <a:pt x="72" y="457"/>
                </a:lnTo>
                <a:lnTo>
                  <a:pt x="64" y="457"/>
                </a:lnTo>
                <a:lnTo>
                  <a:pt x="59" y="458"/>
                </a:lnTo>
                <a:lnTo>
                  <a:pt x="54" y="457"/>
                </a:lnTo>
                <a:lnTo>
                  <a:pt x="52" y="455"/>
                </a:lnTo>
                <a:lnTo>
                  <a:pt x="51" y="450"/>
                </a:lnTo>
                <a:lnTo>
                  <a:pt x="52" y="445"/>
                </a:lnTo>
                <a:lnTo>
                  <a:pt x="57" y="436"/>
                </a:lnTo>
                <a:lnTo>
                  <a:pt x="62" y="428"/>
                </a:lnTo>
                <a:lnTo>
                  <a:pt x="66" y="419"/>
                </a:lnTo>
                <a:lnTo>
                  <a:pt x="67" y="413"/>
                </a:lnTo>
                <a:lnTo>
                  <a:pt x="67" y="408"/>
                </a:lnTo>
                <a:lnTo>
                  <a:pt x="64" y="403"/>
                </a:lnTo>
                <a:lnTo>
                  <a:pt x="57" y="399"/>
                </a:lnTo>
                <a:lnTo>
                  <a:pt x="51" y="396"/>
                </a:lnTo>
                <a:lnTo>
                  <a:pt x="40" y="393"/>
                </a:lnTo>
                <a:lnTo>
                  <a:pt x="27" y="391"/>
                </a:lnTo>
                <a:lnTo>
                  <a:pt x="22" y="394"/>
                </a:lnTo>
                <a:lnTo>
                  <a:pt x="17" y="394"/>
                </a:lnTo>
                <a:lnTo>
                  <a:pt x="14" y="396"/>
                </a:lnTo>
                <a:lnTo>
                  <a:pt x="10" y="394"/>
                </a:lnTo>
                <a:lnTo>
                  <a:pt x="8" y="389"/>
                </a:lnTo>
                <a:lnTo>
                  <a:pt x="8" y="382"/>
                </a:lnTo>
                <a:lnTo>
                  <a:pt x="10" y="374"/>
                </a:lnTo>
                <a:lnTo>
                  <a:pt x="14" y="361"/>
                </a:lnTo>
                <a:lnTo>
                  <a:pt x="20" y="354"/>
                </a:lnTo>
                <a:lnTo>
                  <a:pt x="25" y="347"/>
                </a:lnTo>
                <a:lnTo>
                  <a:pt x="29" y="339"/>
                </a:lnTo>
                <a:lnTo>
                  <a:pt x="32" y="330"/>
                </a:lnTo>
                <a:lnTo>
                  <a:pt x="34" y="320"/>
                </a:lnTo>
                <a:lnTo>
                  <a:pt x="34" y="308"/>
                </a:lnTo>
                <a:lnTo>
                  <a:pt x="34" y="297"/>
                </a:lnTo>
                <a:lnTo>
                  <a:pt x="30" y="283"/>
                </a:lnTo>
                <a:lnTo>
                  <a:pt x="27" y="276"/>
                </a:lnTo>
                <a:lnTo>
                  <a:pt x="24" y="271"/>
                </a:lnTo>
                <a:lnTo>
                  <a:pt x="24" y="266"/>
                </a:lnTo>
                <a:lnTo>
                  <a:pt x="24" y="261"/>
                </a:lnTo>
                <a:lnTo>
                  <a:pt x="25" y="251"/>
                </a:lnTo>
                <a:lnTo>
                  <a:pt x="27" y="243"/>
                </a:lnTo>
                <a:lnTo>
                  <a:pt x="24" y="222"/>
                </a:lnTo>
                <a:lnTo>
                  <a:pt x="22" y="202"/>
                </a:lnTo>
                <a:lnTo>
                  <a:pt x="20" y="184"/>
                </a:lnTo>
                <a:lnTo>
                  <a:pt x="22" y="167"/>
                </a:lnTo>
                <a:lnTo>
                  <a:pt x="25" y="165"/>
                </a:lnTo>
                <a:lnTo>
                  <a:pt x="29" y="163"/>
                </a:lnTo>
                <a:lnTo>
                  <a:pt x="30" y="160"/>
                </a:lnTo>
                <a:lnTo>
                  <a:pt x="32" y="158"/>
                </a:lnTo>
                <a:lnTo>
                  <a:pt x="30" y="155"/>
                </a:lnTo>
                <a:lnTo>
                  <a:pt x="29" y="152"/>
                </a:lnTo>
                <a:lnTo>
                  <a:pt x="25" y="150"/>
                </a:lnTo>
                <a:lnTo>
                  <a:pt x="20" y="148"/>
                </a:lnTo>
                <a:lnTo>
                  <a:pt x="10" y="140"/>
                </a:lnTo>
                <a:lnTo>
                  <a:pt x="0" y="135"/>
                </a:lnTo>
                <a:lnTo>
                  <a:pt x="2" y="130"/>
                </a:lnTo>
                <a:lnTo>
                  <a:pt x="3" y="125"/>
                </a:lnTo>
                <a:lnTo>
                  <a:pt x="27" y="125"/>
                </a:lnTo>
                <a:lnTo>
                  <a:pt x="52" y="125"/>
                </a:lnTo>
              </a:path>
            </a:pathLst>
          </a:custGeom>
          <a:solidFill>
            <a:srgbClr val="D46AC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sp>
        <p:nvSpPr>
          <p:cNvPr id="3082" name="Freeform 17"/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1303338" y="1701800"/>
            <a:ext cx="2560637" cy="2606675"/>
          </a:xfrm>
          <a:custGeom>
            <a:avLst/>
            <a:gdLst>
              <a:gd name="T0" fmla="*/ 2147483647 w 1615"/>
              <a:gd name="T1" fmla="*/ 2147483647 h 1632"/>
              <a:gd name="T2" fmla="*/ 2147483647 w 1615"/>
              <a:gd name="T3" fmla="*/ 2147483647 h 1632"/>
              <a:gd name="T4" fmla="*/ 2147483647 w 1615"/>
              <a:gd name="T5" fmla="*/ 2147483647 h 1632"/>
              <a:gd name="T6" fmla="*/ 2147483647 w 1615"/>
              <a:gd name="T7" fmla="*/ 2147483647 h 1632"/>
              <a:gd name="T8" fmla="*/ 2147483647 w 1615"/>
              <a:gd name="T9" fmla="*/ 2147483647 h 1632"/>
              <a:gd name="T10" fmla="*/ 2147483647 w 1615"/>
              <a:gd name="T11" fmla="*/ 2147483647 h 1632"/>
              <a:gd name="T12" fmla="*/ 2147483647 w 1615"/>
              <a:gd name="T13" fmla="*/ 2147483647 h 1632"/>
              <a:gd name="T14" fmla="*/ 2147483647 w 1615"/>
              <a:gd name="T15" fmla="*/ 2147483647 h 1632"/>
              <a:gd name="T16" fmla="*/ 2147483647 w 1615"/>
              <a:gd name="T17" fmla="*/ 2147483647 h 1632"/>
              <a:gd name="T18" fmla="*/ 2147483647 w 1615"/>
              <a:gd name="T19" fmla="*/ 2147483647 h 1632"/>
              <a:gd name="T20" fmla="*/ 2147483647 w 1615"/>
              <a:gd name="T21" fmla="*/ 2147483647 h 1632"/>
              <a:gd name="T22" fmla="*/ 2147483647 w 1615"/>
              <a:gd name="T23" fmla="*/ 2147483647 h 1632"/>
              <a:gd name="T24" fmla="*/ 2147483647 w 1615"/>
              <a:gd name="T25" fmla="*/ 2147483647 h 1632"/>
              <a:gd name="T26" fmla="*/ 2147483647 w 1615"/>
              <a:gd name="T27" fmla="*/ 2147483647 h 1632"/>
              <a:gd name="T28" fmla="*/ 2147483647 w 1615"/>
              <a:gd name="T29" fmla="*/ 2147483647 h 1632"/>
              <a:gd name="T30" fmla="*/ 2147483647 w 1615"/>
              <a:gd name="T31" fmla="*/ 2147483647 h 1632"/>
              <a:gd name="T32" fmla="*/ 2147483647 w 1615"/>
              <a:gd name="T33" fmla="*/ 2147483647 h 1632"/>
              <a:gd name="T34" fmla="*/ 2147483647 w 1615"/>
              <a:gd name="T35" fmla="*/ 2147483647 h 1632"/>
              <a:gd name="T36" fmla="*/ 2147483647 w 1615"/>
              <a:gd name="T37" fmla="*/ 2147483647 h 1632"/>
              <a:gd name="T38" fmla="*/ 2147483647 w 1615"/>
              <a:gd name="T39" fmla="*/ 2147483647 h 1632"/>
              <a:gd name="T40" fmla="*/ 2147483647 w 1615"/>
              <a:gd name="T41" fmla="*/ 2147483647 h 1632"/>
              <a:gd name="T42" fmla="*/ 2147483647 w 1615"/>
              <a:gd name="T43" fmla="*/ 2147483647 h 1632"/>
              <a:gd name="T44" fmla="*/ 2147483647 w 1615"/>
              <a:gd name="T45" fmla="*/ 2147483647 h 1632"/>
              <a:gd name="T46" fmla="*/ 2147483647 w 1615"/>
              <a:gd name="T47" fmla="*/ 2147483647 h 1632"/>
              <a:gd name="T48" fmla="*/ 2147483647 w 1615"/>
              <a:gd name="T49" fmla="*/ 2147483647 h 1632"/>
              <a:gd name="T50" fmla="*/ 2147483647 w 1615"/>
              <a:gd name="T51" fmla="*/ 2147483647 h 1632"/>
              <a:gd name="T52" fmla="*/ 2147483647 w 1615"/>
              <a:gd name="T53" fmla="*/ 2147483647 h 1632"/>
              <a:gd name="T54" fmla="*/ 2147483647 w 1615"/>
              <a:gd name="T55" fmla="*/ 2147483647 h 1632"/>
              <a:gd name="T56" fmla="*/ 2147483647 w 1615"/>
              <a:gd name="T57" fmla="*/ 2147483647 h 1632"/>
              <a:gd name="T58" fmla="*/ 2147483647 w 1615"/>
              <a:gd name="T59" fmla="*/ 2147483647 h 1632"/>
              <a:gd name="T60" fmla="*/ 2147483647 w 1615"/>
              <a:gd name="T61" fmla="*/ 2147483647 h 1632"/>
              <a:gd name="T62" fmla="*/ 2147483647 w 1615"/>
              <a:gd name="T63" fmla="*/ 2147483647 h 1632"/>
              <a:gd name="T64" fmla="*/ 2147483647 w 1615"/>
              <a:gd name="T65" fmla="*/ 2147483647 h 1632"/>
              <a:gd name="T66" fmla="*/ 2147483647 w 1615"/>
              <a:gd name="T67" fmla="*/ 2147483647 h 1632"/>
              <a:gd name="T68" fmla="*/ 2147483647 w 1615"/>
              <a:gd name="T69" fmla="*/ 2147483647 h 1632"/>
              <a:gd name="T70" fmla="*/ 2147483647 w 1615"/>
              <a:gd name="T71" fmla="*/ 2147483647 h 1632"/>
              <a:gd name="T72" fmla="*/ 2147483647 w 1615"/>
              <a:gd name="T73" fmla="*/ 2147483647 h 1632"/>
              <a:gd name="T74" fmla="*/ 2147483647 w 1615"/>
              <a:gd name="T75" fmla="*/ 2147483647 h 1632"/>
              <a:gd name="T76" fmla="*/ 2147483647 w 1615"/>
              <a:gd name="T77" fmla="*/ 2147483647 h 1632"/>
              <a:gd name="T78" fmla="*/ 2147483647 w 1615"/>
              <a:gd name="T79" fmla="*/ 2147483647 h 1632"/>
              <a:gd name="T80" fmla="*/ 2147483647 w 1615"/>
              <a:gd name="T81" fmla="*/ 2147483647 h 1632"/>
              <a:gd name="T82" fmla="*/ 2147483647 w 1615"/>
              <a:gd name="T83" fmla="*/ 2147483647 h 1632"/>
              <a:gd name="T84" fmla="*/ 2147483647 w 1615"/>
              <a:gd name="T85" fmla="*/ 2147483647 h 1632"/>
              <a:gd name="T86" fmla="*/ 2147483647 w 1615"/>
              <a:gd name="T87" fmla="*/ 2147483647 h 1632"/>
              <a:gd name="T88" fmla="*/ 2147483647 w 1615"/>
              <a:gd name="T89" fmla="*/ 2147483647 h 1632"/>
              <a:gd name="T90" fmla="*/ 2147483647 w 1615"/>
              <a:gd name="T91" fmla="*/ 2147483647 h 1632"/>
              <a:gd name="T92" fmla="*/ 2147483647 w 1615"/>
              <a:gd name="T93" fmla="*/ 2147483647 h 1632"/>
              <a:gd name="T94" fmla="*/ 2147483647 w 1615"/>
              <a:gd name="T95" fmla="*/ 2147483647 h 1632"/>
              <a:gd name="T96" fmla="*/ 2147483647 w 1615"/>
              <a:gd name="T97" fmla="*/ 2147483647 h 1632"/>
              <a:gd name="T98" fmla="*/ 2147483647 w 1615"/>
              <a:gd name="T99" fmla="*/ 2147483647 h 1632"/>
              <a:gd name="T100" fmla="*/ 2147483647 w 1615"/>
              <a:gd name="T101" fmla="*/ 2147483647 h 1632"/>
              <a:gd name="T102" fmla="*/ 2147483647 w 1615"/>
              <a:gd name="T103" fmla="*/ 2147483647 h 1632"/>
              <a:gd name="T104" fmla="*/ 2147483647 w 1615"/>
              <a:gd name="T105" fmla="*/ 2147483647 h 1632"/>
              <a:gd name="T106" fmla="*/ 2147483647 w 1615"/>
              <a:gd name="T107" fmla="*/ 2147483647 h 1632"/>
              <a:gd name="T108" fmla="*/ 2147483647 w 1615"/>
              <a:gd name="T109" fmla="*/ 2147483647 h 1632"/>
              <a:gd name="T110" fmla="*/ 2147483647 w 1615"/>
              <a:gd name="T111" fmla="*/ 2147483647 h 1632"/>
              <a:gd name="T112" fmla="*/ 2147483647 w 1615"/>
              <a:gd name="T113" fmla="*/ 2147483647 h 1632"/>
              <a:gd name="T114" fmla="*/ 2147483647 w 1615"/>
              <a:gd name="T115" fmla="*/ 2147483647 h 1632"/>
              <a:gd name="T116" fmla="*/ 2147483647 w 1615"/>
              <a:gd name="T117" fmla="*/ 2147483647 h 1632"/>
              <a:gd name="T118" fmla="*/ 2147483647 w 1615"/>
              <a:gd name="T119" fmla="*/ 2147483647 h 1632"/>
              <a:gd name="T120" fmla="*/ 2147483647 w 1615"/>
              <a:gd name="T121" fmla="*/ 2147483647 h 1632"/>
              <a:gd name="T122" fmla="*/ 2147483647 w 1615"/>
              <a:gd name="T123" fmla="*/ 2147483647 h 1632"/>
              <a:gd name="T124" fmla="*/ 2147483647 w 1615"/>
              <a:gd name="T125" fmla="*/ 2147483647 h 16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615"/>
              <a:gd name="T190" fmla="*/ 0 h 1632"/>
              <a:gd name="T191" fmla="*/ 1615 w 1615"/>
              <a:gd name="T192" fmla="*/ 1632 h 16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615" h="1632">
                <a:moveTo>
                  <a:pt x="930" y="1609"/>
                </a:moveTo>
                <a:lnTo>
                  <a:pt x="923" y="1602"/>
                </a:lnTo>
                <a:lnTo>
                  <a:pt x="918" y="1592"/>
                </a:lnTo>
                <a:lnTo>
                  <a:pt x="911" y="1585"/>
                </a:lnTo>
                <a:lnTo>
                  <a:pt x="904" y="1580"/>
                </a:lnTo>
                <a:lnTo>
                  <a:pt x="899" y="1577"/>
                </a:lnTo>
                <a:lnTo>
                  <a:pt x="896" y="1578"/>
                </a:lnTo>
                <a:lnTo>
                  <a:pt x="893" y="1580"/>
                </a:lnTo>
                <a:lnTo>
                  <a:pt x="891" y="1587"/>
                </a:lnTo>
                <a:lnTo>
                  <a:pt x="889" y="1595"/>
                </a:lnTo>
                <a:lnTo>
                  <a:pt x="889" y="1605"/>
                </a:lnTo>
                <a:lnTo>
                  <a:pt x="889" y="1617"/>
                </a:lnTo>
                <a:lnTo>
                  <a:pt x="888" y="1624"/>
                </a:lnTo>
                <a:lnTo>
                  <a:pt x="884" y="1629"/>
                </a:lnTo>
                <a:lnTo>
                  <a:pt x="879" y="1632"/>
                </a:lnTo>
                <a:lnTo>
                  <a:pt x="874" y="1632"/>
                </a:lnTo>
                <a:lnTo>
                  <a:pt x="867" y="1631"/>
                </a:lnTo>
                <a:lnTo>
                  <a:pt x="861" y="1627"/>
                </a:lnTo>
                <a:lnTo>
                  <a:pt x="852" y="1622"/>
                </a:lnTo>
                <a:lnTo>
                  <a:pt x="837" y="1605"/>
                </a:lnTo>
                <a:lnTo>
                  <a:pt x="824" y="1589"/>
                </a:lnTo>
                <a:lnTo>
                  <a:pt x="808" y="1575"/>
                </a:lnTo>
                <a:lnTo>
                  <a:pt x="793" y="1560"/>
                </a:lnTo>
                <a:lnTo>
                  <a:pt x="787" y="1558"/>
                </a:lnTo>
                <a:lnTo>
                  <a:pt x="781" y="1557"/>
                </a:lnTo>
                <a:lnTo>
                  <a:pt x="776" y="1557"/>
                </a:lnTo>
                <a:lnTo>
                  <a:pt x="771" y="1557"/>
                </a:lnTo>
                <a:lnTo>
                  <a:pt x="763" y="1560"/>
                </a:lnTo>
                <a:lnTo>
                  <a:pt x="755" y="1567"/>
                </a:lnTo>
                <a:lnTo>
                  <a:pt x="739" y="1568"/>
                </a:lnTo>
                <a:lnTo>
                  <a:pt x="726" y="1568"/>
                </a:lnTo>
                <a:lnTo>
                  <a:pt x="719" y="1567"/>
                </a:lnTo>
                <a:lnTo>
                  <a:pt x="714" y="1563"/>
                </a:lnTo>
                <a:lnTo>
                  <a:pt x="707" y="1560"/>
                </a:lnTo>
                <a:lnTo>
                  <a:pt x="702" y="1557"/>
                </a:lnTo>
                <a:lnTo>
                  <a:pt x="697" y="1553"/>
                </a:lnTo>
                <a:lnTo>
                  <a:pt x="691" y="1553"/>
                </a:lnTo>
                <a:lnTo>
                  <a:pt x="684" y="1555"/>
                </a:lnTo>
                <a:lnTo>
                  <a:pt x="677" y="1558"/>
                </a:lnTo>
                <a:lnTo>
                  <a:pt x="665" y="1568"/>
                </a:lnTo>
                <a:lnTo>
                  <a:pt x="652" y="1580"/>
                </a:lnTo>
                <a:lnTo>
                  <a:pt x="654" y="1594"/>
                </a:lnTo>
                <a:lnTo>
                  <a:pt x="652" y="1605"/>
                </a:lnTo>
                <a:lnTo>
                  <a:pt x="650" y="1612"/>
                </a:lnTo>
                <a:lnTo>
                  <a:pt x="647" y="1617"/>
                </a:lnTo>
                <a:lnTo>
                  <a:pt x="643" y="1621"/>
                </a:lnTo>
                <a:lnTo>
                  <a:pt x="638" y="1622"/>
                </a:lnTo>
                <a:lnTo>
                  <a:pt x="633" y="1622"/>
                </a:lnTo>
                <a:lnTo>
                  <a:pt x="630" y="1624"/>
                </a:lnTo>
                <a:lnTo>
                  <a:pt x="616" y="1624"/>
                </a:lnTo>
                <a:lnTo>
                  <a:pt x="603" y="1626"/>
                </a:lnTo>
                <a:lnTo>
                  <a:pt x="590" y="1626"/>
                </a:lnTo>
                <a:lnTo>
                  <a:pt x="576" y="1626"/>
                </a:lnTo>
                <a:lnTo>
                  <a:pt x="566" y="1624"/>
                </a:lnTo>
                <a:lnTo>
                  <a:pt x="559" y="1619"/>
                </a:lnTo>
                <a:lnTo>
                  <a:pt x="558" y="1615"/>
                </a:lnTo>
                <a:lnTo>
                  <a:pt x="556" y="1612"/>
                </a:lnTo>
                <a:lnTo>
                  <a:pt x="556" y="1609"/>
                </a:lnTo>
                <a:lnTo>
                  <a:pt x="556" y="1604"/>
                </a:lnTo>
                <a:lnTo>
                  <a:pt x="554" y="1599"/>
                </a:lnTo>
                <a:lnTo>
                  <a:pt x="551" y="1595"/>
                </a:lnTo>
                <a:lnTo>
                  <a:pt x="544" y="1594"/>
                </a:lnTo>
                <a:lnTo>
                  <a:pt x="537" y="1594"/>
                </a:lnTo>
                <a:lnTo>
                  <a:pt x="522" y="1592"/>
                </a:lnTo>
                <a:lnTo>
                  <a:pt x="512" y="1590"/>
                </a:lnTo>
                <a:lnTo>
                  <a:pt x="504" y="1587"/>
                </a:lnTo>
                <a:lnTo>
                  <a:pt x="497" y="1583"/>
                </a:lnTo>
                <a:lnTo>
                  <a:pt x="482" y="1580"/>
                </a:lnTo>
                <a:lnTo>
                  <a:pt x="470" y="1575"/>
                </a:lnTo>
                <a:lnTo>
                  <a:pt x="460" y="1572"/>
                </a:lnTo>
                <a:lnTo>
                  <a:pt x="452" y="1567"/>
                </a:lnTo>
                <a:lnTo>
                  <a:pt x="445" y="1562"/>
                </a:lnTo>
                <a:lnTo>
                  <a:pt x="441" y="1557"/>
                </a:lnTo>
                <a:lnTo>
                  <a:pt x="440" y="1551"/>
                </a:lnTo>
                <a:lnTo>
                  <a:pt x="441" y="1545"/>
                </a:lnTo>
                <a:lnTo>
                  <a:pt x="438" y="1533"/>
                </a:lnTo>
                <a:lnTo>
                  <a:pt x="436" y="1519"/>
                </a:lnTo>
                <a:lnTo>
                  <a:pt x="430" y="1506"/>
                </a:lnTo>
                <a:lnTo>
                  <a:pt x="425" y="1496"/>
                </a:lnTo>
                <a:lnTo>
                  <a:pt x="420" y="1491"/>
                </a:lnTo>
                <a:lnTo>
                  <a:pt x="413" y="1488"/>
                </a:lnTo>
                <a:lnTo>
                  <a:pt x="384" y="1469"/>
                </a:lnTo>
                <a:lnTo>
                  <a:pt x="364" y="1454"/>
                </a:lnTo>
                <a:lnTo>
                  <a:pt x="347" y="1450"/>
                </a:lnTo>
                <a:lnTo>
                  <a:pt x="334" y="1450"/>
                </a:lnTo>
                <a:lnTo>
                  <a:pt x="322" y="1452"/>
                </a:lnTo>
                <a:lnTo>
                  <a:pt x="312" y="1454"/>
                </a:lnTo>
                <a:lnTo>
                  <a:pt x="303" y="1454"/>
                </a:lnTo>
                <a:lnTo>
                  <a:pt x="295" y="1454"/>
                </a:lnTo>
                <a:lnTo>
                  <a:pt x="290" y="1452"/>
                </a:lnTo>
                <a:lnTo>
                  <a:pt x="283" y="1449"/>
                </a:lnTo>
                <a:lnTo>
                  <a:pt x="280" y="1445"/>
                </a:lnTo>
                <a:lnTo>
                  <a:pt x="275" y="1440"/>
                </a:lnTo>
                <a:lnTo>
                  <a:pt x="273" y="1435"/>
                </a:lnTo>
                <a:lnTo>
                  <a:pt x="270" y="1430"/>
                </a:lnTo>
                <a:lnTo>
                  <a:pt x="260" y="1408"/>
                </a:lnTo>
                <a:lnTo>
                  <a:pt x="248" y="1386"/>
                </a:lnTo>
                <a:lnTo>
                  <a:pt x="244" y="1381"/>
                </a:lnTo>
                <a:lnTo>
                  <a:pt x="241" y="1378"/>
                </a:lnTo>
                <a:lnTo>
                  <a:pt x="239" y="1375"/>
                </a:lnTo>
                <a:lnTo>
                  <a:pt x="239" y="1370"/>
                </a:lnTo>
                <a:lnTo>
                  <a:pt x="239" y="1363"/>
                </a:lnTo>
                <a:lnTo>
                  <a:pt x="241" y="1354"/>
                </a:lnTo>
                <a:lnTo>
                  <a:pt x="238" y="1346"/>
                </a:lnTo>
                <a:lnTo>
                  <a:pt x="236" y="1339"/>
                </a:lnTo>
                <a:lnTo>
                  <a:pt x="233" y="1334"/>
                </a:lnTo>
                <a:lnTo>
                  <a:pt x="228" y="1329"/>
                </a:lnTo>
                <a:lnTo>
                  <a:pt x="224" y="1326"/>
                </a:lnTo>
                <a:lnTo>
                  <a:pt x="219" y="1324"/>
                </a:lnTo>
                <a:lnTo>
                  <a:pt x="214" y="1324"/>
                </a:lnTo>
                <a:lnTo>
                  <a:pt x="209" y="1324"/>
                </a:lnTo>
                <a:lnTo>
                  <a:pt x="184" y="1302"/>
                </a:lnTo>
                <a:lnTo>
                  <a:pt x="165" y="1289"/>
                </a:lnTo>
                <a:lnTo>
                  <a:pt x="154" y="1280"/>
                </a:lnTo>
                <a:lnTo>
                  <a:pt x="147" y="1277"/>
                </a:lnTo>
                <a:lnTo>
                  <a:pt x="138" y="1275"/>
                </a:lnTo>
                <a:lnTo>
                  <a:pt x="128" y="1272"/>
                </a:lnTo>
                <a:lnTo>
                  <a:pt x="110" y="1258"/>
                </a:lnTo>
                <a:lnTo>
                  <a:pt x="93" y="1245"/>
                </a:lnTo>
                <a:lnTo>
                  <a:pt x="83" y="1238"/>
                </a:lnTo>
                <a:lnTo>
                  <a:pt x="78" y="1230"/>
                </a:lnTo>
                <a:lnTo>
                  <a:pt x="78" y="1225"/>
                </a:lnTo>
                <a:lnTo>
                  <a:pt x="78" y="1221"/>
                </a:lnTo>
                <a:lnTo>
                  <a:pt x="78" y="1216"/>
                </a:lnTo>
                <a:lnTo>
                  <a:pt x="81" y="1213"/>
                </a:lnTo>
                <a:lnTo>
                  <a:pt x="88" y="1193"/>
                </a:lnTo>
                <a:lnTo>
                  <a:pt x="96" y="1173"/>
                </a:lnTo>
                <a:lnTo>
                  <a:pt x="105" y="1157"/>
                </a:lnTo>
                <a:lnTo>
                  <a:pt x="115" y="1142"/>
                </a:lnTo>
                <a:lnTo>
                  <a:pt x="123" y="1127"/>
                </a:lnTo>
                <a:lnTo>
                  <a:pt x="132" y="1112"/>
                </a:lnTo>
                <a:lnTo>
                  <a:pt x="135" y="1107"/>
                </a:lnTo>
                <a:lnTo>
                  <a:pt x="137" y="1102"/>
                </a:lnTo>
                <a:lnTo>
                  <a:pt x="137" y="1098"/>
                </a:lnTo>
                <a:lnTo>
                  <a:pt x="137" y="1095"/>
                </a:lnTo>
                <a:lnTo>
                  <a:pt x="133" y="1090"/>
                </a:lnTo>
                <a:lnTo>
                  <a:pt x="127" y="1085"/>
                </a:lnTo>
                <a:lnTo>
                  <a:pt x="113" y="1080"/>
                </a:lnTo>
                <a:lnTo>
                  <a:pt x="100" y="1073"/>
                </a:lnTo>
                <a:lnTo>
                  <a:pt x="90" y="1066"/>
                </a:lnTo>
                <a:lnTo>
                  <a:pt x="81" y="1056"/>
                </a:lnTo>
                <a:lnTo>
                  <a:pt x="68" y="1048"/>
                </a:lnTo>
                <a:lnTo>
                  <a:pt x="56" y="1040"/>
                </a:lnTo>
                <a:lnTo>
                  <a:pt x="48" y="1031"/>
                </a:lnTo>
                <a:lnTo>
                  <a:pt x="42" y="1023"/>
                </a:lnTo>
                <a:lnTo>
                  <a:pt x="39" y="1016"/>
                </a:lnTo>
                <a:lnTo>
                  <a:pt x="37" y="1008"/>
                </a:lnTo>
                <a:lnTo>
                  <a:pt x="41" y="999"/>
                </a:lnTo>
                <a:lnTo>
                  <a:pt x="48" y="991"/>
                </a:lnTo>
                <a:lnTo>
                  <a:pt x="66" y="969"/>
                </a:lnTo>
                <a:lnTo>
                  <a:pt x="85" y="945"/>
                </a:lnTo>
                <a:lnTo>
                  <a:pt x="90" y="930"/>
                </a:lnTo>
                <a:lnTo>
                  <a:pt x="96" y="920"/>
                </a:lnTo>
                <a:lnTo>
                  <a:pt x="100" y="917"/>
                </a:lnTo>
                <a:lnTo>
                  <a:pt x="105" y="913"/>
                </a:lnTo>
                <a:lnTo>
                  <a:pt x="108" y="912"/>
                </a:lnTo>
                <a:lnTo>
                  <a:pt x="113" y="910"/>
                </a:lnTo>
                <a:lnTo>
                  <a:pt x="113" y="896"/>
                </a:lnTo>
                <a:lnTo>
                  <a:pt x="113" y="885"/>
                </a:lnTo>
                <a:lnTo>
                  <a:pt x="112" y="871"/>
                </a:lnTo>
                <a:lnTo>
                  <a:pt x="112" y="858"/>
                </a:lnTo>
                <a:lnTo>
                  <a:pt x="100" y="837"/>
                </a:lnTo>
                <a:lnTo>
                  <a:pt x="88" y="816"/>
                </a:lnTo>
                <a:lnTo>
                  <a:pt x="73" y="800"/>
                </a:lnTo>
                <a:lnTo>
                  <a:pt x="56" y="787"/>
                </a:lnTo>
                <a:lnTo>
                  <a:pt x="41" y="772"/>
                </a:lnTo>
                <a:lnTo>
                  <a:pt x="26" y="757"/>
                </a:lnTo>
                <a:lnTo>
                  <a:pt x="14" y="745"/>
                </a:lnTo>
                <a:lnTo>
                  <a:pt x="7" y="733"/>
                </a:lnTo>
                <a:lnTo>
                  <a:pt x="5" y="728"/>
                </a:lnTo>
                <a:lnTo>
                  <a:pt x="5" y="721"/>
                </a:lnTo>
                <a:lnTo>
                  <a:pt x="5" y="716"/>
                </a:lnTo>
                <a:lnTo>
                  <a:pt x="7" y="709"/>
                </a:lnTo>
                <a:lnTo>
                  <a:pt x="7" y="699"/>
                </a:lnTo>
                <a:lnTo>
                  <a:pt x="7" y="689"/>
                </a:lnTo>
                <a:lnTo>
                  <a:pt x="4" y="679"/>
                </a:lnTo>
                <a:lnTo>
                  <a:pt x="0" y="669"/>
                </a:lnTo>
                <a:lnTo>
                  <a:pt x="0" y="651"/>
                </a:lnTo>
                <a:lnTo>
                  <a:pt x="2" y="634"/>
                </a:lnTo>
                <a:lnTo>
                  <a:pt x="5" y="622"/>
                </a:lnTo>
                <a:lnTo>
                  <a:pt x="11" y="610"/>
                </a:lnTo>
                <a:lnTo>
                  <a:pt x="17" y="602"/>
                </a:lnTo>
                <a:lnTo>
                  <a:pt x="24" y="595"/>
                </a:lnTo>
                <a:lnTo>
                  <a:pt x="32" y="590"/>
                </a:lnTo>
                <a:lnTo>
                  <a:pt x="42" y="587"/>
                </a:lnTo>
                <a:lnTo>
                  <a:pt x="61" y="593"/>
                </a:lnTo>
                <a:lnTo>
                  <a:pt x="78" y="600"/>
                </a:lnTo>
                <a:lnTo>
                  <a:pt x="80" y="597"/>
                </a:lnTo>
                <a:lnTo>
                  <a:pt x="80" y="592"/>
                </a:lnTo>
                <a:lnTo>
                  <a:pt x="78" y="588"/>
                </a:lnTo>
                <a:lnTo>
                  <a:pt x="76" y="585"/>
                </a:lnTo>
                <a:lnTo>
                  <a:pt x="66" y="576"/>
                </a:lnTo>
                <a:lnTo>
                  <a:pt x="54" y="568"/>
                </a:lnTo>
                <a:lnTo>
                  <a:pt x="56" y="551"/>
                </a:lnTo>
                <a:lnTo>
                  <a:pt x="59" y="536"/>
                </a:lnTo>
                <a:lnTo>
                  <a:pt x="63" y="531"/>
                </a:lnTo>
                <a:lnTo>
                  <a:pt x="68" y="526"/>
                </a:lnTo>
                <a:lnTo>
                  <a:pt x="73" y="523"/>
                </a:lnTo>
                <a:lnTo>
                  <a:pt x="78" y="519"/>
                </a:lnTo>
                <a:lnTo>
                  <a:pt x="83" y="507"/>
                </a:lnTo>
                <a:lnTo>
                  <a:pt x="88" y="497"/>
                </a:lnTo>
                <a:lnTo>
                  <a:pt x="93" y="489"/>
                </a:lnTo>
                <a:lnTo>
                  <a:pt x="100" y="482"/>
                </a:lnTo>
                <a:lnTo>
                  <a:pt x="105" y="477"/>
                </a:lnTo>
                <a:lnTo>
                  <a:pt x="112" y="472"/>
                </a:lnTo>
                <a:lnTo>
                  <a:pt x="118" y="470"/>
                </a:lnTo>
                <a:lnTo>
                  <a:pt x="127" y="469"/>
                </a:lnTo>
                <a:lnTo>
                  <a:pt x="145" y="472"/>
                </a:lnTo>
                <a:lnTo>
                  <a:pt x="165" y="470"/>
                </a:lnTo>
                <a:lnTo>
                  <a:pt x="175" y="470"/>
                </a:lnTo>
                <a:lnTo>
                  <a:pt x="184" y="467"/>
                </a:lnTo>
                <a:lnTo>
                  <a:pt x="194" y="464"/>
                </a:lnTo>
                <a:lnTo>
                  <a:pt x="202" y="460"/>
                </a:lnTo>
                <a:lnTo>
                  <a:pt x="216" y="454"/>
                </a:lnTo>
                <a:lnTo>
                  <a:pt x="229" y="448"/>
                </a:lnTo>
                <a:lnTo>
                  <a:pt x="236" y="448"/>
                </a:lnTo>
                <a:lnTo>
                  <a:pt x="244" y="448"/>
                </a:lnTo>
                <a:lnTo>
                  <a:pt x="253" y="450"/>
                </a:lnTo>
                <a:lnTo>
                  <a:pt x="263" y="454"/>
                </a:lnTo>
                <a:lnTo>
                  <a:pt x="276" y="450"/>
                </a:lnTo>
                <a:lnTo>
                  <a:pt x="290" y="447"/>
                </a:lnTo>
                <a:lnTo>
                  <a:pt x="305" y="445"/>
                </a:lnTo>
                <a:lnTo>
                  <a:pt x="319" y="442"/>
                </a:lnTo>
                <a:lnTo>
                  <a:pt x="344" y="448"/>
                </a:lnTo>
                <a:lnTo>
                  <a:pt x="366" y="452"/>
                </a:lnTo>
                <a:lnTo>
                  <a:pt x="383" y="452"/>
                </a:lnTo>
                <a:lnTo>
                  <a:pt x="396" y="450"/>
                </a:lnTo>
                <a:lnTo>
                  <a:pt x="418" y="440"/>
                </a:lnTo>
                <a:lnTo>
                  <a:pt x="438" y="432"/>
                </a:lnTo>
                <a:lnTo>
                  <a:pt x="443" y="427"/>
                </a:lnTo>
                <a:lnTo>
                  <a:pt x="450" y="422"/>
                </a:lnTo>
                <a:lnTo>
                  <a:pt x="457" y="418"/>
                </a:lnTo>
                <a:lnTo>
                  <a:pt x="463" y="416"/>
                </a:lnTo>
                <a:lnTo>
                  <a:pt x="470" y="415"/>
                </a:lnTo>
                <a:lnTo>
                  <a:pt x="478" y="416"/>
                </a:lnTo>
                <a:lnTo>
                  <a:pt x="485" y="418"/>
                </a:lnTo>
                <a:lnTo>
                  <a:pt x="494" y="422"/>
                </a:lnTo>
                <a:lnTo>
                  <a:pt x="512" y="422"/>
                </a:lnTo>
                <a:lnTo>
                  <a:pt x="531" y="425"/>
                </a:lnTo>
                <a:lnTo>
                  <a:pt x="541" y="427"/>
                </a:lnTo>
                <a:lnTo>
                  <a:pt x="547" y="430"/>
                </a:lnTo>
                <a:lnTo>
                  <a:pt x="556" y="433"/>
                </a:lnTo>
                <a:lnTo>
                  <a:pt x="563" y="438"/>
                </a:lnTo>
                <a:lnTo>
                  <a:pt x="569" y="445"/>
                </a:lnTo>
                <a:lnTo>
                  <a:pt x="576" y="448"/>
                </a:lnTo>
                <a:lnTo>
                  <a:pt x="583" y="452"/>
                </a:lnTo>
                <a:lnTo>
                  <a:pt x="588" y="454"/>
                </a:lnTo>
                <a:lnTo>
                  <a:pt x="593" y="454"/>
                </a:lnTo>
                <a:lnTo>
                  <a:pt x="598" y="450"/>
                </a:lnTo>
                <a:lnTo>
                  <a:pt x="601" y="445"/>
                </a:lnTo>
                <a:lnTo>
                  <a:pt x="605" y="437"/>
                </a:lnTo>
                <a:lnTo>
                  <a:pt x="603" y="423"/>
                </a:lnTo>
                <a:lnTo>
                  <a:pt x="603" y="411"/>
                </a:lnTo>
                <a:lnTo>
                  <a:pt x="603" y="401"/>
                </a:lnTo>
                <a:lnTo>
                  <a:pt x="605" y="393"/>
                </a:lnTo>
                <a:lnTo>
                  <a:pt x="608" y="384"/>
                </a:lnTo>
                <a:lnTo>
                  <a:pt x="611" y="379"/>
                </a:lnTo>
                <a:lnTo>
                  <a:pt x="618" y="376"/>
                </a:lnTo>
                <a:lnTo>
                  <a:pt x="625" y="373"/>
                </a:lnTo>
                <a:lnTo>
                  <a:pt x="622" y="354"/>
                </a:lnTo>
                <a:lnTo>
                  <a:pt x="618" y="336"/>
                </a:lnTo>
                <a:lnTo>
                  <a:pt x="613" y="322"/>
                </a:lnTo>
                <a:lnTo>
                  <a:pt x="610" y="312"/>
                </a:lnTo>
                <a:lnTo>
                  <a:pt x="610" y="304"/>
                </a:lnTo>
                <a:lnTo>
                  <a:pt x="611" y="299"/>
                </a:lnTo>
                <a:lnTo>
                  <a:pt x="615" y="295"/>
                </a:lnTo>
                <a:lnTo>
                  <a:pt x="620" y="294"/>
                </a:lnTo>
                <a:lnTo>
                  <a:pt x="627" y="294"/>
                </a:lnTo>
                <a:lnTo>
                  <a:pt x="633" y="297"/>
                </a:lnTo>
                <a:lnTo>
                  <a:pt x="627" y="277"/>
                </a:lnTo>
                <a:lnTo>
                  <a:pt x="618" y="256"/>
                </a:lnTo>
                <a:lnTo>
                  <a:pt x="611" y="245"/>
                </a:lnTo>
                <a:lnTo>
                  <a:pt x="608" y="233"/>
                </a:lnTo>
                <a:lnTo>
                  <a:pt x="605" y="224"/>
                </a:lnTo>
                <a:lnTo>
                  <a:pt x="605" y="214"/>
                </a:lnTo>
                <a:lnTo>
                  <a:pt x="606" y="208"/>
                </a:lnTo>
                <a:lnTo>
                  <a:pt x="608" y="201"/>
                </a:lnTo>
                <a:lnTo>
                  <a:pt x="613" y="196"/>
                </a:lnTo>
                <a:lnTo>
                  <a:pt x="618" y="191"/>
                </a:lnTo>
                <a:lnTo>
                  <a:pt x="628" y="179"/>
                </a:lnTo>
                <a:lnTo>
                  <a:pt x="638" y="167"/>
                </a:lnTo>
                <a:lnTo>
                  <a:pt x="625" y="149"/>
                </a:lnTo>
                <a:lnTo>
                  <a:pt x="613" y="130"/>
                </a:lnTo>
                <a:lnTo>
                  <a:pt x="610" y="128"/>
                </a:lnTo>
                <a:lnTo>
                  <a:pt x="608" y="125"/>
                </a:lnTo>
                <a:lnTo>
                  <a:pt x="606" y="118"/>
                </a:lnTo>
                <a:lnTo>
                  <a:pt x="606" y="112"/>
                </a:lnTo>
                <a:lnTo>
                  <a:pt x="606" y="105"/>
                </a:lnTo>
                <a:lnTo>
                  <a:pt x="606" y="95"/>
                </a:lnTo>
                <a:lnTo>
                  <a:pt x="603" y="85"/>
                </a:lnTo>
                <a:lnTo>
                  <a:pt x="600" y="75"/>
                </a:lnTo>
                <a:lnTo>
                  <a:pt x="598" y="66"/>
                </a:lnTo>
                <a:lnTo>
                  <a:pt x="595" y="59"/>
                </a:lnTo>
                <a:lnTo>
                  <a:pt x="593" y="51"/>
                </a:lnTo>
                <a:lnTo>
                  <a:pt x="593" y="44"/>
                </a:lnTo>
                <a:lnTo>
                  <a:pt x="595" y="38"/>
                </a:lnTo>
                <a:lnTo>
                  <a:pt x="600" y="32"/>
                </a:lnTo>
                <a:lnTo>
                  <a:pt x="606" y="29"/>
                </a:lnTo>
                <a:lnTo>
                  <a:pt x="618" y="27"/>
                </a:lnTo>
                <a:lnTo>
                  <a:pt x="632" y="19"/>
                </a:lnTo>
                <a:lnTo>
                  <a:pt x="637" y="17"/>
                </a:lnTo>
                <a:lnTo>
                  <a:pt x="640" y="21"/>
                </a:lnTo>
                <a:lnTo>
                  <a:pt x="648" y="29"/>
                </a:lnTo>
                <a:lnTo>
                  <a:pt x="655" y="32"/>
                </a:lnTo>
                <a:lnTo>
                  <a:pt x="662" y="34"/>
                </a:lnTo>
                <a:lnTo>
                  <a:pt x="670" y="32"/>
                </a:lnTo>
                <a:lnTo>
                  <a:pt x="677" y="29"/>
                </a:lnTo>
                <a:lnTo>
                  <a:pt x="697" y="21"/>
                </a:lnTo>
                <a:lnTo>
                  <a:pt x="717" y="12"/>
                </a:lnTo>
                <a:lnTo>
                  <a:pt x="724" y="19"/>
                </a:lnTo>
                <a:lnTo>
                  <a:pt x="731" y="24"/>
                </a:lnTo>
                <a:lnTo>
                  <a:pt x="738" y="27"/>
                </a:lnTo>
                <a:lnTo>
                  <a:pt x="746" y="29"/>
                </a:lnTo>
                <a:lnTo>
                  <a:pt x="755" y="29"/>
                </a:lnTo>
                <a:lnTo>
                  <a:pt x="763" y="26"/>
                </a:lnTo>
                <a:lnTo>
                  <a:pt x="773" y="22"/>
                </a:lnTo>
                <a:lnTo>
                  <a:pt x="783" y="14"/>
                </a:lnTo>
                <a:lnTo>
                  <a:pt x="785" y="9"/>
                </a:lnTo>
                <a:lnTo>
                  <a:pt x="787" y="4"/>
                </a:lnTo>
                <a:lnTo>
                  <a:pt x="790" y="2"/>
                </a:lnTo>
                <a:lnTo>
                  <a:pt x="793" y="0"/>
                </a:lnTo>
                <a:lnTo>
                  <a:pt x="797" y="0"/>
                </a:lnTo>
                <a:lnTo>
                  <a:pt x="800" y="2"/>
                </a:lnTo>
                <a:lnTo>
                  <a:pt x="805" y="6"/>
                </a:lnTo>
                <a:lnTo>
                  <a:pt x="812" y="11"/>
                </a:lnTo>
                <a:lnTo>
                  <a:pt x="810" y="16"/>
                </a:lnTo>
                <a:lnTo>
                  <a:pt x="810" y="21"/>
                </a:lnTo>
                <a:lnTo>
                  <a:pt x="810" y="26"/>
                </a:lnTo>
                <a:lnTo>
                  <a:pt x="812" y="29"/>
                </a:lnTo>
                <a:lnTo>
                  <a:pt x="815" y="31"/>
                </a:lnTo>
                <a:lnTo>
                  <a:pt x="818" y="32"/>
                </a:lnTo>
                <a:lnTo>
                  <a:pt x="822" y="34"/>
                </a:lnTo>
                <a:lnTo>
                  <a:pt x="827" y="34"/>
                </a:lnTo>
                <a:lnTo>
                  <a:pt x="830" y="41"/>
                </a:lnTo>
                <a:lnTo>
                  <a:pt x="835" y="48"/>
                </a:lnTo>
                <a:lnTo>
                  <a:pt x="840" y="53"/>
                </a:lnTo>
                <a:lnTo>
                  <a:pt x="847" y="58"/>
                </a:lnTo>
                <a:lnTo>
                  <a:pt x="854" y="59"/>
                </a:lnTo>
                <a:lnTo>
                  <a:pt x="862" y="63"/>
                </a:lnTo>
                <a:lnTo>
                  <a:pt x="872" y="63"/>
                </a:lnTo>
                <a:lnTo>
                  <a:pt x="881" y="63"/>
                </a:lnTo>
                <a:lnTo>
                  <a:pt x="911" y="59"/>
                </a:lnTo>
                <a:lnTo>
                  <a:pt x="941" y="59"/>
                </a:lnTo>
                <a:lnTo>
                  <a:pt x="957" y="59"/>
                </a:lnTo>
                <a:lnTo>
                  <a:pt x="972" y="61"/>
                </a:lnTo>
                <a:lnTo>
                  <a:pt x="988" y="64"/>
                </a:lnTo>
                <a:lnTo>
                  <a:pt x="1004" y="68"/>
                </a:lnTo>
                <a:lnTo>
                  <a:pt x="1010" y="73"/>
                </a:lnTo>
                <a:lnTo>
                  <a:pt x="1017" y="78"/>
                </a:lnTo>
                <a:lnTo>
                  <a:pt x="1026" y="81"/>
                </a:lnTo>
                <a:lnTo>
                  <a:pt x="1034" y="83"/>
                </a:lnTo>
                <a:lnTo>
                  <a:pt x="1042" y="85"/>
                </a:lnTo>
                <a:lnTo>
                  <a:pt x="1054" y="86"/>
                </a:lnTo>
                <a:lnTo>
                  <a:pt x="1064" y="86"/>
                </a:lnTo>
                <a:lnTo>
                  <a:pt x="1078" y="85"/>
                </a:lnTo>
                <a:lnTo>
                  <a:pt x="1086" y="83"/>
                </a:lnTo>
                <a:lnTo>
                  <a:pt x="1093" y="81"/>
                </a:lnTo>
                <a:lnTo>
                  <a:pt x="1096" y="83"/>
                </a:lnTo>
                <a:lnTo>
                  <a:pt x="1098" y="85"/>
                </a:lnTo>
                <a:lnTo>
                  <a:pt x="1100" y="86"/>
                </a:lnTo>
                <a:lnTo>
                  <a:pt x="1100" y="90"/>
                </a:lnTo>
                <a:lnTo>
                  <a:pt x="1103" y="95"/>
                </a:lnTo>
                <a:lnTo>
                  <a:pt x="1106" y="96"/>
                </a:lnTo>
                <a:lnTo>
                  <a:pt x="1110" y="98"/>
                </a:lnTo>
                <a:lnTo>
                  <a:pt x="1113" y="98"/>
                </a:lnTo>
                <a:lnTo>
                  <a:pt x="1121" y="95"/>
                </a:lnTo>
                <a:lnTo>
                  <a:pt x="1128" y="90"/>
                </a:lnTo>
                <a:lnTo>
                  <a:pt x="1140" y="80"/>
                </a:lnTo>
                <a:lnTo>
                  <a:pt x="1153" y="68"/>
                </a:lnTo>
                <a:lnTo>
                  <a:pt x="1160" y="80"/>
                </a:lnTo>
                <a:lnTo>
                  <a:pt x="1169" y="93"/>
                </a:lnTo>
                <a:lnTo>
                  <a:pt x="1175" y="102"/>
                </a:lnTo>
                <a:lnTo>
                  <a:pt x="1179" y="110"/>
                </a:lnTo>
                <a:lnTo>
                  <a:pt x="1180" y="118"/>
                </a:lnTo>
                <a:lnTo>
                  <a:pt x="1180" y="128"/>
                </a:lnTo>
                <a:lnTo>
                  <a:pt x="1177" y="139"/>
                </a:lnTo>
                <a:lnTo>
                  <a:pt x="1174" y="147"/>
                </a:lnTo>
                <a:lnTo>
                  <a:pt x="1167" y="157"/>
                </a:lnTo>
                <a:lnTo>
                  <a:pt x="1159" y="167"/>
                </a:lnTo>
                <a:lnTo>
                  <a:pt x="1148" y="179"/>
                </a:lnTo>
                <a:lnTo>
                  <a:pt x="1140" y="187"/>
                </a:lnTo>
                <a:lnTo>
                  <a:pt x="1135" y="196"/>
                </a:lnTo>
                <a:lnTo>
                  <a:pt x="1133" y="203"/>
                </a:lnTo>
                <a:lnTo>
                  <a:pt x="1133" y="208"/>
                </a:lnTo>
                <a:lnTo>
                  <a:pt x="1137" y="211"/>
                </a:lnTo>
                <a:lnTo>
                  <a:pt x="1143" y="213"/>
                </a:lnTo>
                <a:lnTo>
                  <a:pt x="1152" y="213"/>
                </a:lnTo>
                <a:lnTo>
                  <a:pt x="1160" y="230"/>
                </a:lnTo>
                <a:lnTo>
                  <a:pt x="1170" y="246"/>
                </a:lnTo>
                <a:lnTo>
                  <a:pt x="1179" y="263"/>
                </a:lnTo>
                <a:lnTo>
                  <a:pt x="1187" y="278"/>
                </a:lnTo>
                <a:lnTo>
                  <a:pt x="1190" y="290"/>
                </a:lnTo>
                <a:lnTo>
                  <a:pt x="1192" y="299"/>
                </a:lnTo>
                <a:lnTo>
                  <a:pt x="1192" y="307"/>
                </a:lnTo>
                <a:lnTo>
                  <a:pt x="1190" y="314"/>
                </a:lnTo>
                <a:lnTo>
                  <a:pt x="1189" y="319"/>
                </a:lnTo>
                <a:lnTo>
                  <a:pt x="1184" y="324"/>
                </a:lnTo>
                <a:lnTo>
                  <a:pt x="1180" y="327"/>
                </a:lnTo>
                <a:lnTo>
                  <a:pt x="1175" y="331"/>
                </a:lnTo>
                <a:lnTo>
                  <a:pt x="1169" y="339"/>
                </a:lnTo>
                <a:lnTo>
                  <a:pt x="1164" y="347"/>
                </a:lnTo>
                <a:lnTo>
                  <a:pt x="1160" y="356"/>
                </a:lnTo>
                <a:lnTo>
                  <a:pt x="1157" y="364"/>
                </a:lnTo>
                <a:lnTo>
                  <a:pt x="1155" y="373"/>
                </a:lnTo>
                <a:lnTo>
                  <a:pt x="1155" y="381"/>
                </a:lnTo>
                <a:lnTo>
                  <a:pt x="1155" y="390"/>
                </a:lnTo>
                <a:lnTo>
                  <a:pt x="1155" y="398"/>
                </a:lnTo>
                <a:lnTo>
                  <a:pt x="1153" y="411"/>
                </a:lnTo>
                <a:lnTo>
                  <a:pt x="1152" y="422"/>
                </a:lnTo>
                <a:lnTo>
                  <a:pt x="1153" y="430"/>
                </a:lnTo>
                <a:lnTo>
                  <a:pt x="1159" y="435"/>
                </a:lnTo>
                <a:lnTo>
                  <a:pt x="1164" y="437"/>
                </a:lnTo>
                <a:lnTo>
                  <a:pt x="1170" y="438"/>
                </a:lnTo>
                <a:lnTo>
                  <a:pt x="1179" y="438"/>
                </a:lnTo>
                <a:lnTo>
                  <a:pt x="1187" y="438"/>
                </a:lnTo>
                <a:lnTo>
                  <a:pt x="1202" y="435"/>
                </a:lnTo>
                <a:lnTo>
                  <a:pt x="1216" y="433"/>
                </a:lnTo>
                <a:lnTo>
                  <a:pt x="1219" y="435"/>
                </a:lnTo>
                <a:lnTo>
                  <a:pt x="1221" y="437"/>
                </a:lnTo>
                <a:lnTo>
                  <a:pt x="1221" y="440"/>
                </a:lnTo>
                <a:lnTo>
                  <a:pt x="1217" y="445"/>
                </a:lnTo>
                <a:lnTo>
                  <a:pt x="1206" y="459"/>
                </a:lnTo>
                <a:lnTo>
                  <a:pt x="1197" y="470"/>
                </a:lnTo>
                <a:lnTo>
                  <a:pt x="1192" y="477"/>
                </a:lnTo>
                <a:lnTo>
                  <a:pt x="1190" y="482"/>
                </a:lnTo>
                <a:lnTo>
                  <a:pt x="1189" y="489"/>
                </a:lnTo>
                <a:lnTo>
                  <a:pt x="1189" y="496"/>
                </a:lnTo>
                <a:lnTo>
                  <a:pt x="1184" y="509"/>
                </a:lnTo>
                <a:lnTo>
                  <a:pt x="1180" y="521"/>
                </a:lnTo>
                <a:lnTo>
                  <a:pt x="1182" y="533"/>
                </a:lnTo>
                <a:lnTo>
                  <a:pt x="1184" y="543"/>
                </a:lnTo>
                <a:lnTo>
                  <a:pt x="1189" y="551"/>
                </a:lnTo>
                <a:lnTo>
                  <a:pt x="1194" y="560"/>
                </a:lnTo>
                <a:lnTo>
                  <a:pt x="1202" y="568"/>
                </a:lnTo>
                <a:lnTo>
                  <a:pt x="1209" y="576"/>
                </a:lnTo>
                <a:lnTo>
                  <a:pt x="1216" y="590"/>
                </a:lnTo>
                <a:lnTo>
                  <a:pt x="1222" y="602"/>
                </a:lnTo>
                <a:lnTo>
                  <a:pt x="1226" y="605"/>
                </a:lnTo>
                <a:lnTo>
                  <a:pt x="1231" y="608"/>
                </a:lnTo>
                <a:lnTo>
                  <a:pt x="1234" y="612"/>
                </a:lnTo>
                <a:lnTo>
                  <a:pt x="1241" y="612"/>
                </a:lnTo>
                <a:lnTo>
                  <a:pt x="1248" y="624"/>
                </a:lnTo>
                <a:lnTo>
                  <a:pt x="1256" y="632"/>
                </a:lnTo>
                <a:lnTo>
                  <a:pt x="1263" y="640"/>
                </a:lnTo>
                <a:lnTo>
                  <a:pt x="1271" y="647"/>
                </a:lnTo>
                <a:lnTo>
                  <a:pt x="1280" y="654"/>
                </a:lnTo>
                <a:lnTo>
                  <a:pt x="1290" y="657"/>
                </a:lnTo>
                <a:lnTo>
                  <a:pt x="1300" y="661"/>
                </a:lnTo>
                <a:lnTo>
                  <a:pt x="1310" y="664"/>
                </a:lnTo>
                <a:lnTo>
                  <a:pt x="1312" y="666"/>
                </a:lnTo>
                <a:lnTo>
                  <a:pt x="1315" y="669"/>
                </a:lnTo>
                <a:lnTo>
                  <a:pt x="1320" y="671"/>
                </a:lnTo>
                <a:lnTo>
                  <a:pt x="1323" y="671"/>
                </a:lnTo>
                <a:lnTo>
                  <a:pt x="1334" y="671"/>
                </a:lnTo>
                <a:lnTo>
                  <a:pt x="1345" y="666"/>
                </a:lnTo>
                <a:lnTo>
                  <a:pt x="1357" y="664"/>
                </a:lnTo>
                <a:lnTo>
                  <a:pt x="1364" y="664"/>
                </a:lnTo>
                <a:lnTo>
                  <a:pt x="1367" y="664"/>
                </a:lnTo>
                <a:lnTo>
                  <a:pt x="1369" y="666"/>
                </a:lnTo>
                <a:lnTo>
                  <a:pt x="1369" y="667"/>
                </a:lnTo>
                <a:lnTo>
                  <a:pt x="1371" y="669"/>
                </a:lnTo>
                <a:lnTo>
                  <a:pt x="1384" y="681"/>
                </a:lnTo>
                <a:lnTo>
                  <a:pt x="1399" y="691"/>
                </a:lnTo>
                <a:lnTo>
                  <a:pt x="1413" y="698"/>
                </a:lnTo>
                <a:lnTo>
                  <a:pt x="1426" y="701"/>
                </a:lnTo>
                <a:lnTo>
                  <a:pt x="1438" y="704"/>
                </a:lnTo>
                <a:lnTo>
                  <a:pt x="1451" y="704"/>
                </a:lnTo>
                <a:lnTo>
                  <a:pt x="1463" y="703"/>
                </a:lnTo>
                <a:lnTo>
                  <a:pt x="1475" y="701"/>
                </a:lnTo>
                <a:lnTo>
                  <a:pt x="1482" y="698"/>
                </a:lnTo>
                <a:lnTo>
                  <a:pt x="1488" y="698"/>
                </a:lnTo>
                <a:lnTo>
                  <a:pt x="1495" y="699"/>
                </a:lnTo>
                <a:lnTo>
                  <a:pt x="1500" y="703"/>
                </a:lnTo>
                <a:lnTo>
                  <a:pt x="1504" y="708"/>
                </a:lnTo>
                <a:lnTo>
                  <a:pt x="1507" y="716"/>
                </a:lnTo>
                <a:lnTo>
                  <a:pt x="1509" y="725"/>
                </a:lnTo>
                <a:lnTo>
                  <a:pt x="1509" y="736"/>
                </a:lnTo>
                <a:lnTo>
                  <a:pt x="1536" y="758"/>
                </a:lnTo>
                <a:lnTo>
                  <a:pt x="1562" y="780"/>
                </a:lnTo>
                <a:lnTo>
                  <a:pt x="1588" y="800"/>
                </a:lnTo>
                <a:lnTo>
                  <a:pt x="1615" y="822"/>
                </a:lnTo>
                <a:lnTo>
                  <a:pt x="1615" y="824"/>
                </a:lnTo>
                <a:lnTo>
                  <a:pt x="1615" y="827"/>
                </a:lnTo>
                <a:lnTo>
                  <a:pt x="1600" y="837"/>
                </a:lnTo>
                <a:lnTo>
                  <a:pt x="1586" y="844"/>
                </a:lnTo>
                <a:lnTo>
                  <a:pt x="1573" y="848"/>
                </a:lnTo>
                <a:lnTo>
                  <a:pt x="1559" y="849"/>
                </a:lnTo>
                <a:lnTo>
                  <a:pt x="1554" y="854"/>
                </a:lnTo>
                <a:lnTo>
                  <a:pt x="1551" y="859"/>
                </a:lnTo>
                <a:lnTo>
                  <a:pt x="1549" y="864"/>
                </a:lnTo>
                <a:lnTo>
                  <a:pt x="1549" y="868"/>
                </a:lnTo>
                <a:lnTo>
                  <a:pt x="1551" y="871"/>
                </a:lnTo>
                <a:lnTo>
                  <a:pt x="1554" y="875"/>
                </a:lnTo>
                <a:lnTo>
                  <a:pt x="1561" y="878"/>
                </a:lnTo>
                <a:lnTo>
                  <a:pt x="1568" y="880"/>
                </a:lnTo>
                <a:lnTo>
                  <a:pt x="1578" y="883"/>
                </a:lnTo>
                <a:lnTo>
                  <a:pt x="1588" y="886"/>
                </a:lnTo>
                <a:lnTo>
                  <a:pt x="1596" y="888"/>
                </a:lnTo>
                <a:lnTo>
                  <a:pt x="1601" y="890"/>
                </a:lnTo>
                <a:lnTo>
                  <a:pt x="1603" y="893"/>
                </a:lnTo>
                <a:lnTo>
                  <a:pt x="1603" y="895"/>
                </a:lnTo>
                <a:lnTo>
                  <a:pt x="1601" y="896"/>
                </a:lnTo>
                <a:lnTo>
                  <a:pt x="1596" y="900"/>
                </a:lnTo>
                <a:lnTo>
                  <a:pt x="1588" y="903"/>
                </a:lnTo>
                <a:lnTo>
                  <a:pt x="1578" y="905"/>
                </a:lnTo>
                <a:lnTo>
                  <a:pt x="1568" y="905"/>
                </a:lnTo>
                <a:lnTo>
                  <a:pt x="1556" y="905"/>
                </a:lnTo>
                <a:lnTo>
                  <a:pt x="1546" y="907"/>
                </a:lnTo>
                <a:lnTo>
                  <a:pt x="1534" y="912"/>
                </a:lnTo>
                <a:lnTo>
                  <a:pt x="1524" y="915"/>
                </a:lnTo>
                <a:lnTo>
                  <a:pt x="1514" y="918"/>
                </a:lnTo>
                <a:lnTo>
                  <a:pt x="1493" y="920"/>
                </a:lnTo>
                <a:lnTo>
                  <a:pt x="1473" y="922"/>
                </a:lnTo>
                <a:lnTo>
                  <a:pt x="1467" y="922"/>
                </a:lnTo>
                <a:lnTo>
                  <a:pt x="1461" y="923"/>
                </a:lnTo>
                <a:lnTo>
                  <a:pt x="1455" y="925"/>
                </a:lnTo>
                <a:lnTo>
                  <a:pt x="1448" y="930"/>
                </a:lnTo>
                <a:lnTo>
                  <a:pt x="1431" y="942"/>
                </a:lnTo>
                <a:lnTo>
                  <a:pt x="1413" y="954"/>
                </a:lnTo>
                <a:lnTo>
                  <a:pt x="1394" y="965"/>
                </a:lnTo>
                <a:lnTo>
                  <a:pt x="1377" y="976"/>
                </a:lnTo>
                <a:lnTo>
                  <a:pt x="1381" y="987"/>
                </a:lnTo>
                <a:lnTo>
                  <a:pt x="1382" y="997"/>
                </a:lnTo>
                <a:lnTo>
                  <a:pt x="1382" y="1006"/>
                </a:lnTo>
                <a:lnTo>
                  <a:pt x="1381" y="1014"/>
                </a:lnTo>
                <a:lnTo>
                  <a:pt x="1379" y="1021"/>
                </a:lnTo>
                <a:lnTo>
                  <a:pt x="1376" y="1028"/>
                </a:lnTo>
                <a:lnTo>
                  <a:pt x="1372" y="1033"/>
                </a:lnTo>
                <a:lnTo>
                  <a:pt x="1367" y="1038"/>
                </a:lnTo>
                <a:lnTo>
                  <a:pt x="1357" y="1046"/>
                </a:lnTo>
                <a:lnTo>
                  <a:pt x="1344" y="1055"/>
                </a:lnTo>
                <a:lnTo>
                  <a:pt x="1330" y="1060"/>
                </a:lnTo>
                <a:lnTo>
                  <a:pt x="1315" y="1066"/>
                </a:lnTo>
                <a:lnTo>
                  <a:pt x="1307" y="1068"/>
                </a:lnTo>
                <a:lnTo>
                  <a:pt x="1298" y="1072"/>
                </a:lnTo>
                <a:lnTo>
                  <a:pt x="1291" y="1077"/>
                </a:lnTo>
                <a:lnTo>
                  <a:pt x="1283" y="1082"/>
                </a:lnTo>
                <a:lnTo>
                  <a:pt x="1271" y="1092"/>
                </a:lnTo>
                <a:lnTo>
                  <a:pt x="1260" y="1105"/>
                </a:lnTo>
                <a:lnTo>
                  <a:pt x="1253" y="1110"/>
                </a:lnTo>
                <a:lnTo>
                  <a:pt x="1246" y="1115"/>
                </a:lnTo>
                <a:lnTo>
                  <a:pt x="1238" y="1119"/>
                </a:lnTo>
                <a:lnTo>
                  <a:pt x="1231" y="1120"/>
                </a:lnTo>
                <a:lnTo>
                  <a:pt x="1214" y="1120"/>
                </a:lnTo>
                <a:lnTo>
                  <a:pt x="1199" y="1119"/>
                </a:lnTo>
                <a:lnTo>
                  <a:pt x="1187" y="1117"/>
                </a:lnTo>
                <a:lnTo>
                  <a:pt x="1179" y="1115"/>
                </a:lnTo>
                <a:lnTo>
                  <a:pt x="1170" y="1117"/>
                </a:lnTo>
                <a:lnTo>
                  <a:pt x="1165" y="1119"/>
                </a:lnTo>
                <a:lnTo>
                  <a:pt x="1159" y="1122"/>
                </a:lnTo>
                <a:lnTo>
                  <a:pt x="1155" y="1127"/>
                </a:lnTo>
                <a:lnTo>
                  <a:pt x="1150" y="1132"/>
                </a:lnTo>
                <a:lnTo>
                  <a:pt x="1147" y="1139"/>
                </a:lnTo>
                <a:lnTo>
                  <a:pt x="1142" y="1149"/>
                </a:lnTo>
                <a:lnTo>
                  <a:pt x="1137" y="1154"/>
                </a:lnTo>
                <a:lnTo>
                  <a:pt x="1130" y="1157"/>
                </a:lnTo>
                <a:lnTo>
                  <a:pt x="1125" y="1157"/>
                </a:lnTo>
                <a:lnTo>
                  <a:pt x="1120" y="1156"/>
                </a:lnTo>
                <a:lnTo>
                  <a:pt x="1113" y="1151"/>
                </a:lnTo>
                <a:lnTo>
                  <a:pt x="1108" y="1146"/>
                </a:lnTo>
                <a:lnTo>
                  <a:pt x="1103" y="1139"/>
                </a:lnTo>
                <a:lnTo>
                  <a:pt x="1089" y="1129"/>
                </a:lnTo>
                <a:lnTo>
                  <a:pt x="1079" y="1122"/>
                </a:lnTo>
                <a:lnTo>
                  <a:pt x="1074" y="1120"/>
                </a:lnTo>
                <a:lnTo>
                  <a:pt x="1069" y="1120"/>
                </a:lnTo>
                <a:lnTo>
                  <a:pt x="1066" y="1120"/>
                </a:lnTo>
                <a:lnTo>
                  <a:pt x="1063" y="1122"/>
                </a:lnTo>
                <a:lnTo>
                  <a:pt x="1054" y="1127"/>
                </a:lnTo>
                <a:lnTo>
                  <a:pt x="1049" y="1136"/>
                </a:lnTo>
                <a:lnTo>
                  <a:pt x="1044" y="1146"/>
                </a:lnTo>
                <a:lnTo>
                  <a:pt x="1039" y="1159"/>
                </a:lnTo>
                <a:lnTo>
                  <a:pt x="1031" y="1186"/>
                </a:lnTo>
                <a:lnTo>
                  <a:pt x="1020" y="1213"/>
                </a:lnTo>
                <a:lnTo>
                  <a:pt x="1012" y="1240"/>
                </a:lnTo>
                <a:lnTo>
                  <a:pt x="1002" y="1267"/>
                </a:lnTo>
                <a:lnTo>
                  <a:pt x="997" y="1280"/>
                </a:lnTo>
                <a:lnTo>
                  <a:pt x="990" y="1292"/>
                </a:lnTo>
                <a:lnTo>
                  <a:pt x="985" y="1296"/>
                </a:lnTo>
                <a:lnTo>
                  <a:pt x="980" y="1299"/>
                </a:lnTo>
                <a:lnTo>
                  <a:pt x="973" y="1301"/>
                </a:lnTo>
                <a:lnTo>
                  <a:pt x="967" y="1302"/>
                </a:lnTo>
                <a:lnTo>
                  <a:pt x="951" y="1307"/>
                </a:lnTo>
                <a:lnTo>
                  <a:pt x="941" y="1312"/>
                </a:lnTo>
                <a:lnTo>
                  <a:pt x="936" y="1317"/>
                </a:lnTo>
                <a:lnTo>
                  <a:pt x="933" y="1321"/>
                </a:lnTo>
                <a:lnTo>
                  <a:pt x="933" y="1324"/>
                </a:lnTo>
                <a:lnTo>
                  <a:pt x="936" y="1328"/>
                </a:lnTo>
                <a:lnTo>
                  <a:pt x="943" y="1329"/>
                </a:lnTo>
                <a:lnTo>
                  <a:pt x="955" y="1331"/>
                </a:lnTo>
                <a:lnTo>
                  <a:pt x="963" y="1334"/>
                </a:lnTo>
                <a:lnTo>
                  <a:pt x="972" y="1339"/>
                </a:lnTo>
                <a:lnTo>
                  <a:pt x="978" y="1344"/>
                </a:lnTo>
                <a:lnTo>
                  <a:pt x="982" y="1349"/>
                </a:lnTo>
                <a:lnTo>
                  <a:pt x="983" y="1358"/>
                </a:lnTo>
                <a:lnTo>
                  <a:pt x="983" y="1366"/>
                </a:lnTo>
                <a:lnTo>
                  <a:pt x="980" y="1378"/>
                </a:lnTo>
                <a:lnTo>
                  <a:pt x="975" y="1390"/>
                </a:lnTo>
                <a:lnTo>
                  <a:pt x="968" y="1407"/>
                </a:lnTo>
                <a:lnTo>
                  <a:pt x="960" y="1420"/>
                </a:lnTo>
                <a:lnTo>
                  <a:pt x="957" y="1425"/>
                </a:lnTo>
                <a:lnTo>
                  <a:pt x="951" y="1430"/>
                </a:lnTo>
                <a:lnTo>
                  <a:pt x="946" y="1435"/>
                </a:lnTo>
                <a:lnTo>
                  <a:pt x="941" y="1437"/>
                </a:lnTo>
                <a:lnTo>
                  <a:pt x="936" y="1439"/>
                </a:lnTo>
                <a:lnTo>
                  <a:pt x="931" y="1444"/>
                </a:lnTo>
                <a:lnTo>
                  <a:pt x="930" y="1450"/>
                </a:lnTo>
                <a:lnTo>
                  <a:pt x="928" y="1461"/>
                </a:lnTo>
                <a:lnTo>
                  <a:pt x="925" y="1466"/>
                </a:lnTo>
                <a:lnTo>
                  <a:pt x="925" y="1471"/>
                </a:lnTo>
                <a:lnTo>
                  <a:pt x="925" y="1474"/>
                </a:lnTo>
                <a:lnTo>
                  <a:pt x="925" y="1477"/>
                </a:lnTo>
                <a:lnTo>
                  <a:pt x="928" y="1477"/>
                </a:lnTo>
                <a:lnTo>
                  <a:pt x="931" y="1477"/>
                </a:lnTo>
                <a:lnTo>
                  <a:pt x="935" y="1476"/>
                </a:lnTo>
                <a:lnTo>
                  <a:pt x="941" y="1474"/>
                </a:lnTo>
                <a:lnTo>
                  <a:pt x="948" y="1471"/>
                </a:lnTo>
                <a:lnTo>
                  <a:pt x="953" y="1469"/>
                </a:lnTo>
                <a:lnTo>
                  <a:pt x="958" y="1469"/>
                </a:lnTo>
                <a:lnTo>
                  <a:pt x="962" y="1472"/>
                </a:lnTo>
                <a:lnTo>
                  <a:pt x="965" y="1477"/>
                </a:lnTo>
                <a:lnTo>
                  <a:pt x="965" y="1482"/>
                </a:lnTo>
                <a:lnTo>
                  <a:pt x="963" y="1489"/>
                </a:lnTo>
                <a:lnTo>
                  <a:pt x="962" y="1496"/>
                </a:lnTo>
                <a:lnTo>
                  <a:pt x="951" y="1513"/>
                </a:lnTo>
                <a:lnTo>
                  <a:pt x="943" y="1530"/>
                </a:lnTo>
                <a:lnTo>
                  <a:pt x="935" y="1545"/>
                </a:lnTo>
                <a:lnTo>
                  <a:pt x="925" y="1558"/>
                </a:lnTo>
                <a:lnTo>
                  <a:pt x="930" y="1575"/>
                </a:lnTo>
                <a:lnTo>
                  <a:pt x="931" y="1583"/>
                </a:lnTo>
                <a:lnTo>
                  <a:pt x="931" y="1594"/>
                </a:lnTo>
                <a:lnTo>
                  <a:pt x="930" y="1609"/>
                </a:lnTo>
              </a:path>
            </a:pathLst>
          </a:custGeom>
          <a:solidFill>
            <a:srgbClr val="FFFF0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ru-RU" sz="130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>
                <a:latin typeface="Times New Roman" pitchFamily="18" charset="0"/>
                <a:cs typeface="Times New Roman" pitchFamily="18" charset="0"/>
              </a:rPr>
              <a:t>             </a:t>
            </a: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ru-RU" sz="130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>
                <a:latin typeface="Times New Roman" pitchFamily="18" charset="0"/>
                <a:cs typeface="Times New Roman" pitchFamily="18" charset="0"/>
              </a:rPr>
              <a:t>              </a:t>
            </a:r>
            <a:r>
              <a:rPr lang="ru-RU" sz="1300" b="1">
                <a:latin typeface="Times New Roman" pitchFamily="18" charset="0"/>
                <a:cs typeface="Times New Roman" pitchFamily="18" charset="0"/>
              </a:rPr>
              <a:t>Билибинский </a:t>
            </a: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b="1">
                <a:latin typeface="Times New Roman" pitchFamily="18" charset="0"/>
                <a:cs typeface="Times New Roman" pitchFamily="18" charset="0"/>
              </a:rPr>
              <a:t>            муниципальный </a:t>
            </a: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b="1">
                <a:latin typeface="Times New Roman" pitchFamily="18" charset="0"/>
                <a:cs typeface="Times New Roman" pitchFamily="18" charset="0"/>
              </a:rPr>
              <a:t>                    район</a:t>
            </a:r>
            <a:endParaRPr lang="en-US" sz="1300" b="1"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3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Freeform 19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4214813" y="1500188"/>
            <a:ext cx="1854200" cy="1225550"/>
          </a:xfrm>
          <a:custGeom>
            <a:avLst/>
            <a:gdLst>
              <a:gd name="T0" fmla="*/ 2147483647 w 1146"/>
              <a:gd name="T1" fmla="*/ 2147483647 h 755"/>
              <a:gd name="T2" fmla="*/ 2147483647 w 1146"/>
              <a:gd name="T3" fmla="*/ 2147483647 h 755"/>
              <a:gd name="T4" fmla="*/ 2147483647 w 1146"/>
              <a:gd name="T5" fmla="*/ 2147483647 h 755"/>
              <a:gd name="T6" fmla="*/ 2147483647 w 1146"/>
              <a:gd name="T7" fmla="*/ 2147483647 h 755"/>
              <a:gd name="T8" fmla="*/ 2147483647 w 1146"/>
              <a:gd name="T9" fmla="*/ 2147483647 h 755"/>
              <a:gd name="T10" fmla="*/ 2147483647 w 1146"/>
              <a:gd name="T11" fmla="*/ 2147483647 h 755"/>
              <a:gd name="T12" fmla="*/ 2147483647 w 1146"/>
              <a:gd name="T13" fmla="*/ 2147483647 h 755"/>
              <a:gd name="T14" fmla="*/ 2147483647 w 1146"/>
              <a:gd name="T15" fmla="*/ 2147483647 h 755"/>
              <a:gd name="T16" fmla="*/ 2147483647 w 1146"/>
              <a:gd name="T17" fmla="*/ 2147483647 h 755"/>
              <a:gd name="T18" fmla="*/ 2147483647 w 1146"/>
              <a:gd name="T19" fmla="*/ 2147483647 h 755"/>
              <a:gd name="T20" fmla="*/ 2147483647 w 1146"/>
              <a:gd name="T21" fmla="*/ 2147483647 h 755"/>
              <a:gd name="T22" fmla="*/ 2147483647 w 1146"/>
              <a:gd name="T23" fmla="*/ 2147483647 h 755"/>
              <a:gd name="T24" fmla="*/ 2147483647 w 1146"/>
              <a:gd name="T25" fmla="*/ 2147483647 h 755"/>
              <a:gd name="T26" fmla="*/ 2147483647 w 1146"/>
              <a:gd name="T27" fmla="*/ 2147483647 h 755"/>
              <a:gd name="T28" fmla="*/ 2147483647 w 1146"/>
              <a:gd name="T29" fmla="*/ 2147483647 h 755"/>
              <a:gd name="T30" fmla="*/ 2147483647 w 1146"/>
              <a:gd name="T31" fmla="*/ 2147483647 h 755"/>
              <a:gd name="T32" fmla="*/ 2147483647 w 1146"/>
              <a:gd name="T33" fmla="*/ 2147483647 h 755"/>
              <a:gd name="T34" fmla="*/ 2147483647 w 1146"/>
              <a:gd name="T35" fmla="*/ 2147483647 h 755"/>
              <a:gd name="T36" fmla="*/ 2147483647 w 1146"/>
              <a:gd name="T37" fmla="*/ 2147483647 h 755"/>
              <a:gd name="T38" fmla="*/ 2147483647 w 1146"/>
              <a:gd name="T39" fmla="*/ 2147483647 h 755"/>
              <a:gd name="T40" fmla="*/ 2147483647 w 1146"/>
              <a:gd name="T41" fmla="*/ 2147483647 h 755"/>
              <a:gd name="T42" fmla="*/ 2147483647 w 1146"/>
              <a:gd name="T43" fmla="*/ 2147483647 h 755"/>
              <a:gd name="T44" fmla="*/ 2147483647 w 1146"/>
              <a:gd name="T45" fmla="*/ 2147483647 h 755"/>
              <a:gd name="T46" fmla="*/ 2147483647 w 1146"/>
              <a:gd name="T47" fmla="*/ 2147483647 h 755"/>
              <a:gd name="T48" fmla="*/ 2147483647 w 1146"/>
              <a:gd name="T49" fmla="*/ 2147483647 h 755"/>
              <a:gd name="T50" fmla="*/ 2147483647 w 1146"/>
              <a:gd name="T51" fmla="*/ 2147483647 h 755"/>
              <a:gd name="T52" fmla="*/ 2147483647 w 1146"/>
              <a:gd name="T53" fmla="*/ 2147483647 h 755"/>
              <a:gd name="T54" fmla="*/ 2147483647 w 1146"/>
              <a:gd name="T55" fmla="*/ 2147483647 h 755"/>
              <a:gd name="T56" fmla="*/ 2147483647 w 1146"/>
              <a:gd name="T57" fmla="*/ 2147483647 h 755"/>
              <a:gd name="T58" fmla="*/ 2147483647 w 1146"/>
              <a:gd name="T59" fmla="*/ 2147483647 h 755"/>
              <a:gd name="T60" fmla="*/ 2147483647 w 1146"/>
              <a:gd name="T61" fmla="*/ 2147483647 h 755"/>
              <a:gd name="T62" fmla="*/ 2147483647 w 1146"/>
              <a:gd name="T63" fmla="*/ 2147483647 h 755"/>
              <a:gd name="T64" fmla="*/ 2147483647 w 1146"/>
              <a:gd name="T65" fmla="*/ 2147483647 h 755"/>
              <a:gd name="T66" fmla="*/ 2147483647 w 1146"/>
              <a:gd name="T67" fmla="*/ 2147483647 h 755"/>
              <a:gd name="T68" fmla="*/ 2147483647 w 1146"/>
              <a:gd name="T69" fmla="*/ 2147483647 h 755"/>
              <a:gd name="T70" fmla="*/ 2147483647 w 1146"/>
              <a:gd name="T71" fmla="*/ 2147483647 h 755"/>
              <a:gd name="T72" fmla="*/ 2147483647 w 1146"/>
              <a:gd name="T73" fmla="*/ 2147483647 h 755"/>
              <a:gd name="T74" fmla="*/ 2147483647 w 1146"/>
              <a:gd name="T75" fmla="*/ 2147483647 h 755"/>
              <a:gd name="T76" fmla="*/ 2147483647 w 1146"/>
              <a:gd name="T77" fmla="*/ 2147483647 h 755"/>
              <a:gd name="T78" fmla="*/ 2147483647 w 1146"/>
              <a:gd name="T79" fmla="*/ 2147483647 h 755"/>
              <a:gd name="T80" fmla="*/ 2147483647 w 1146"/>
              <a:gd name="T81" fmla="*/ 2147483647 h 755"/>
              <a:gd name="T82" fmla="*/ 2147483647 w 1146"/>
              <a:gd name="T83" fmla="*/ 2147483647 h 755"/>
              <a:gd name="T84" fmla="*/ 2147483647 w 1146"/>
              <a:gd name="T85" fmla="*/ 2147483647 h 755"/>
              <a:gd name="T86" fmla="*/ 2147483647 w 1146"/>
              <a:gd name="T87" fmla="*/ 2147483647 h 755"/>
              <a:gd name="T88" fmla="*/ 2147483647 w 1146"/>
              <a:gd name="T89" fmla="*/ 2147483647 h 755"/>
              <a:gd name="T90" fmla="*/ 2147483647 w 1146"/>
              <a:gd name="T91" fmla="*/ 2147483647 h 755"/>
              <a:gd name="T92" fmla="*/ 2147483647 w 1146"/>
              <a:gd name="T93" fmla="*/ 2147483647 h 755"/>
              <a:gd name="T94" fmla="*/ 2147483647 w 1146"/>
              <a:gd name="T95" fmla="*/ 2147483647 h 755"/>
              <a:gd name="T96" fmla="*/ 2147483647 w 1146"/>
              <a:gd name="T97" fmla="*/ 2147483647 h 755"/>
              <a:gd name="T98" fmla="*/ 2147483647 w 1146"/>
              <a:gd name="T99" fmla="*/ 2147483647 h 755"/>
              <a:gd name="T100" fmla="*/ 2147483647 w 1146"/>
              <a:gd name="T101" fmla="*/ 2147483647 h 755"/>
              <a:gd name="T102" fmla="*/ 2147483647 w 1146"/>
              <a:gd name="T103" fmla="*/ 2147483647 h 755"/>
              <a:gd name="T104" fmla="*/ 2147483647 w 1146"/>
              <a:gd name="T105" fmla="*/ 2147483647 h 755"/>
              <a:gd name="T106" fmla="*/ 2147483647 w 1146"/>
              <a:gd name="T107" fmla="*/ 2147483647 h 755"/>
              <a:gd name="T108" fmla="*/ 2147483647 w 1146"/>
              <a:gd name="T109" fmla="*/ 2147483647 h 755"/>
              <a:gd name="T110" fmla="*/ 2147483647 w 1146"/>
              <a:gd name="T111" fmla="*/ 2147483647 h 755"/>
              <a:gd name="T112" fmla="*/ 2147483647 w 1146"/>
              <a:gd name="T113" fmla="*/ 2147483647 h 75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146"/>
              <a:gd name="T172" fmla="*/ 0 h 755"/>
              <a:gd name="T173" fmla="*/ 1146 w 1146"/>
              <a:gd name="T174" fmla="*/ 755 h 75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146" h="755">
                <a:moveTo>
                  <a:pt x="25" y="59"/>
                </a:moveTo>
                <a:lnTo>
                  <a:pt x="14" y="47"/>
                </a:lnTo>
                <a:lnTo>
                  <a:pt x="2" y="34"/>
                </a:lnTo>
                <a:lnTo>
                  <a:pt x="0" y="31"/>
                </a:lnTo>
                <a:lnTo>
                  <a:pt x="0" y="27"/>
                </a:lnTo>
                <a:lnTo>
                  <a:pt x="2" y="26"/>
                </a:lnTo>
                <a:lnTo>
                  <a:pt x="3" y="22"/>
                </a:lnTo>
                <a:lnTo>
                  <a:pt x="12" y="19"/>
                </a:lnTo>
                <a:lnTo>
                  <a:pt x="24" y="17"/>
                </a:lnTo>
                <a:lnTo>
                  <a:pt x="39" y="37"/>
                </a:lnTo>
                <a:lnTo>
                  <a:pt x="54" y="56"/>
                </a:lnTo>
                <a:lnTo>
                  <a:pt x="71" y="46"/>
                </a:lnTo>
                <a:lnTo>
                  <a:pt x="86" y="34"/>
                </a:lnTo>
                <a:lnTo>
                  <a:pt x="94" y="32"/>
                </a:lnTo>
                <a:lnTo>
                  <a:pt x="104" y="31"/>
                </a:lnTo>
                <a:lnTo>
                  <a:pt x="113" y="32"/>
                </a:lnTo>
                <a:lnTo>
                  <a:pt x="123" y="34"/>
                </a:lnTo>
                <a:lnTo>
                  <a:pt x="145" y="34"/>
                </a:lnTo>
                <a:lnTo>
                  <a:pt x="168" y="32"/>
                </a:lnTo>
                <a:lnTo>
                  <a:pt x="192" y="32"/>
                </a:lnTo>
                <a:lnTo>
                  <a:pt x="214" y="31"/>
                </a:lnTo>
                <a:lnTo>
                  <a:pt x="222" y="22"/>
                </a:lnTo>
                <a:lnTo>
                  <a:pt x="231" y="17"/>
                </a:lnTo>
                <a:lnTo>
                  <a:pt x="242" y="12"/>
                </a:lnTo>
                <a:lnTo>
                  <a:pt x="258" y="7"/>
                </a:lnTo>
                <a:lnTo>
                  <a:pt x="264" y="4"/>
                </a:lnTo>
                <a:lnTo>
                  <a:pt x="273" y="0"/>
                </a:lnTo>
                <a:lnTo>
                  <a:pt x="281" y="0"/>
                </a:lnTo>
                <a:lnTo>
                  <a:pt x="293" y="2"/>
                </a:lnTo>
                <a:lnTo>
                  <a:pt x="301" y="4"/>
                </a:lnTo>
                <a:lnTo>
                  <a:pt x="310" y="5"/>
                </a:lnTo>
                <a:lnTo>
                  <a:pt x="317" y="10"/>
                </a:lnTo>
                <a:lnTo>
                  <a:pt x="322" y="17"/>
                </a:lnTo>
                <a:lnTo>
                  <a:pt x="332" y="27"/>
                </a:lnTo>
                <a:lnTo>
                  <a:pt x="342" y="36"/>
                </a:lnTo>
                <a:lnTo>
                  <a:pt x="354" y="42"/>
                </a:lnTo>
                <a:lnTo>
                  <a:pt x="365" y="46"/>
                </a:lnTo>
                <a:lnTo>
                  <a:pt x="374" y="53"/>
                </a:lnTo>
                <a:lnTo>
                  <a:pt x="381" y="58"/>
                </a:lnTo>
                <a:lnTo>
                  <a:pt x="389" y="61"/>
                </a:lnTo>
                <a:lnTo>
                  <a:pt x="397" y="64"/>
                </a:lnTo>
                <a:lnTo>
                  <a:pt x="406" y="66"/>
                </a:lnTo>
                <a:lnTo>
                  <a:pt x="414" y="68"/>
                </a:lnTo>
                <a:lnTo>
                  <a:pt x="421" y="68"/>
                </a:lnTo>
                <a:lnTo>
                  <a:pt x="429" y="68"/>
                </a:lnTo>
                <a:lnTo>
                  <a:pt x="453" y="64"/>
                </a:lnTo>
                <a:lnTo>
                  <a:pt x="471" y="66"/>
                </a:lnTo>
                <a:lnTo>
                  <a:pt x="480" y="68"/>
                </a:lnTo>
                <a:lnTo>
                  <a:pt x="488" y="69"/>
                </a:lnTo>
                <a:lnTo>
                  <a:pt x="495" y="74"/>
                </a:lnTo>
                <a:lnTo>
                  <a:pt x="500" y="79"/>
                </a:lnTo>
                <a:lnTo>
                  <a:pt x="517" y="88"/>
                </a:lnTo>
                <a:lnTo>
                  <a:pt x="534" y="95"/>
                </a:lnTo>
                <a:lnTo>
                  <a:pt x="549" y="98"/>
                </a:lnTo>
                <a:lnTo>
                  <a:pt x="564" y="98"/>
                </a:lnTo>
                <a:lnTo>
                  <a:pt x="571" y="93"/>
                </a:lnTo>
                <a:lnTo>
                  <a:pt x="579" y="90"/>
                </a:lnTo>
                <a:lnTo>
                  <a:pt x="588" y="88"/>
                </a:lnTo>
                <a:lnTo>
                  <a:pt x="598" y="90"/>
                </a:lnTo>
                <a:lnTo>
                  <a:pt x="620" y="96"/>
                </a:lnTo>
                <a:lnTo>
                  <a:pt x="641" y="106"/>
                </a:lnTo>
                <a:lnTo>
                  <a:pt x="668" y="120"/>
                </a:lnTo>
                <a:lnTo>
                  <a:pt x="694" y="133"/>
                </a:lnTo>
                <a:lnTo>
                  <a:pt x="715" y="150"/>
                </a:lnTo>
                <a:lnTo>
                  <a:pt x="736" y="167"/>
                </a:lnTo>
                <a:lnTo>
                  <a:pt x="749" y="177"/>
                </a:lnTo>
                <a:lnTo>
                  <a:pt x="764" y="189"/>
                </a:lnTo>
                <a:lnTo>
                  <a:pt x="778" y="199"/>
                </a:lnTo>
                <a:lnTo>
                  <a:pt x="791" y="209"/>
                </a:lnTo>
                <a:lnTo>
                  <a:pt x="806" y="212"/>
                </a:lnTo>
                <a:lnTo>
                  <a:pt x="818" y="218"/>
                </a:lnTo>
                <a:lnTo>
                  <a:pt x="823" y="221"/>
                </a:lnTo>
                <a:lnTo>
                  <a:pt x="827" y="224"/>
                </a:lnTo>
                <a:lnTo>
                  <a:pt x="830" y="229"/>
                </a:lnTo>
                <a:lnTo>
                  <a:pt x="832" y="234"/>
                </a:lnTo>
                <a:lnTo>
                  <a:pt x="842" y="233"/>
                </a:lnTo>
                <a:lnTo>
                  <a:pt x="854" y="228"/>
                </a:lnTo>
                <a:lnTo>
                  <a:pt x="862" y="223"/>
                </a:lnTo>
                <a:lnTo>
                  <a:pt x="870" y="218"/>
                </a:lnTo>
                <a:lnTo>
                  <a:pt x="874" y="216"/>
                </a:lnTo>
                <a:lnTo>
                  <a:pt x="877" y="214"/>
                </a:lnTo>
                <a:lnTo>
                  <a:pt x="880" y="214"/>
                </a:lnTo>
                <a:lnTo>
                  <a:pt x="884" y="216"/>
                </a:lnTo>
                <a:lnTo>
                  <a:pt x="891" y="223"/>
                </a:lnTo>
                <a:lnTo>
                  <a:pt x="899" y="234"/>
                </a:lnTo>
                <a:lnTo>
                  <a:pt x="916" y="243"/>
                </a:lnTo>
                <a:lnTo>
                  <a:pt x="924" y="248"/>
                </a:lnTo>
                <a:lnTo>
                  <a:pt x="934" y="253"/>
                </a:lnTo>
                <a:lnTo>
                  <a:pt x="944" y="256"/>
                </a:lnTo>
                <a:lnTo>
                  <a:pt x="951" y="261"/>
                </a:lnTo>
                <a:lnTo>
                  <a:pt x="958" y="266"/>
                </a:lnTo>
                <a:lnTo>
                  <a:pt x="961" y="273"/>
                </a:lnTo>
                <a:lnTo>
                  <a:pt x="965" y="280"/>
                </a:lnTo>
                <a:lnTo>
                  <a:pt x="966" y="287"/>
                </a:lnTo>
                <a:lnTo>
                  <a:pt x="966" y="293"/>
                </a:lnTo>
                <a:lnTo>
                  <a:pt x="968" y="305"/>
                </a:lnTo>
                <a:lnTo>
                  <a:pt x="971" y="314"/>
                </a:lnTo>
                <a:lnTo>
                  <a:pt x="973" y="315"/>
                </a:lnTo>
                <a:lnTo>
                  <a:pt x="978" y="317"/>
                </a:lnTo>
                <a:lnTo>
                  <a:pt x="983" y="317"/>
                </a:lnTo>
                <a:lnTo>
                  <a:pt x="990" y="315"/>
                </a:lnTo>
                <a:lnTo>
                  <a:pt x="1003" y="315"/>
                </a:lnTo>
                <a:lnTo>
                  <a:pt x="1012" y="317"/>
                </a:lnTo>
                <a:lnTo>
                  <a:pt x="1013" y="319"/>
                </a:lnTo>
                <a:lnTo>
                  <a:pt x="1015" y="320"/>
                </a:lnTo>
                <a:lnTo>
                  <a:pt x="1017" y="324"/>
                </a:lnTo>
                <a:lnTo>
                  <a:pt x="1015" y="327"/>
                </a:lnTo>
                <a:lnTo>
                  <a:pt x="1027" y="324"/>
                </a:lnTo>
                <a:lnTo>
                  <a:pt x="1037" y="322"/>
                </a:lnTo>
                <a:lnTo>
                  <a:pt x="1045" y="324"/>
                </a:lnTo>
                <a:lnTo>
                  <a:pt x="1052" y="327"/>
                </a:lnTo>
                <a:lnTo>
                  <a:pt x="1059" y="332"/>
                </a:lnTo>
                <a:lnTo>
                  <a:pt x="1064" y="339"/>
                </a:lnTo>
                <a:lnTo>
                  <a:pt x="1069" y="347"/>
                </a:lnTo>
                <a:lnTo>
                  <a:pt x="1074" y="357"/>
                </a:lnTo>
                <a:lnTo>
                  <a:pt x="1074" y="371"/>
                </a:lnTo>
                <a:lnTo>
                  <a:pt x="1074" y="383"/>
                </a:lnTo>
                <a:lnTo>
                  <a:pt x="1079" y="374"/>
                </a:lnTo>
                <a:lnTo>
                  <a:pt x="1086" y="366"/>
                </a:lnTo>
                <a:lnTo>
                  <a:pt x="1091" y="359"/>
                </a:lnTo>
                <a:lnTo>
                  <a:pt x="1099" y="354"/>
                </a:lnTo>
                <a:lnTo>
                  <a:pt x="1108" y="351"/>
                </a:lnTo>
                <a:lnTo>
                  <a:pt x="1113" y="352"/>
                </a:lnTo>
                <a:lnTo>
                  <a:pt x="1114" y="357"/>
                </a:lnTo>
                <a:lnTo>
                  <a:pt x="1114" y="366"/>
                </a:lnTo>
                <a:lnTo>
                  <a:pt x="1109" y="371"/>
                </a:lnTo>
                <a:lnTo>
                  <a:pt x="1103" y="378"/>
                </a:lnTo>
                <a:lnTo>
                  <a:pt x="1109" y="376"/>
                </a:lnTo>
                <a:lnTo>
                  <a:pt x="1116" y="376"/>
                </a:lnTo>
                <a:lnTo>
                  <a:pt x="1118" y="376"/>
                </a:lnTo>
                <a:lnTo>
                  <a:pt x="1118" y="378"/>
                </a:lnTo>
                <a:lnTo>
                  <a:pt x="1116" y="383"/>
                </a:lnTo>
                <a:lnTo>
                  <a:pt x="1113" y="386"/>
                </a:lnTo>
                <a:lnTo>
                  <a:pt x="1121" y="404"/>
                </a:lnTo>
                <a:lnTo>
                  <a:pt x="1131" y="425"/>
                </a:lnTo>
                <a:lnTo>
                  <a:pt x="1138" y="433"/>
                </a:lnTo>
                <a:lnTo>
                  <a:pt x="1145" y="442"/>
                </a:lnTo>
                <a:lnTo>
                  <a:pt x="1146" y="452"/>
                </a:lnTo>
                <a:lnTo>
                  <a:pt x="1146" y="462"/>
                </a:lnTo>
                <a:lnTo>
                  <a:pt x="1143" y="462"/>
                </a:lnTo>
                <a:lnTo>
                  <a:pt x="1138" y="463"/>
                </a:lnTo>
                <a:lnTo>
                  <a:pt x="1133" y="470"/>
                </a:lnTo>
                <a:lnTo>
                  <a:pt x="1130" y="477"/>
                </a:lnTo>
                <a:lnTo>
                  <a:pt x="1126" y="484"/>
                </a:lnTo>
                <a:lnTo>
                  <a:pt x="1123" y="490"/>
                </a:lnTo>
                <a:lnTo>
                  <a:pt x="1119" y="494"/>
                </a:lnTo>
                <a:lnTo>
                  <a:pt x="1114" y="494"/>
                </a:lnTo>
                <a:lnTo>
                  <a:pt x="1108" y="494"/>
                </a:lnTo>
                <a:lnTo>
                  <a:pt x="1101" y="492"/>
                </a:lnTo>
                <a:lnTo>
                  <a:pt x="1094" y="489"/>
                </a:lnTo>
                <a:lnTo>
                  <a:pt x="1086" y="484"/>
                </a:lnTo>
                <a:lnTo>
                  <a:pt x="1079" y="479"/>
                </a:lnTo>
                <a:lnTo>
                  <a:pt x="1071" y="472"/>
                </a:lnTo>
                <a:lnTo>
                  <a:pt x="1064" y="463"/>
                </a:lnTo>
                <a:lnTo>
                  <a:pt x="1056" y="455"/>
                </a:lnTo>
                <a:lnTo>
                  <a:pt x="1049" y="445"/>
                </a:lnTo>
                <a:lnTo>
                  <a:pt x="1044" y="435"/>
                </a:lnTo>
                <a:lnTo>
                  <a:pt x="1039" y="425"/>
                </a:lnTo>
                <a:lnTo>
                  <a:pt x="1034" y="413"/>
                </a:lnTo>
                <a:lnTo>
                  <a:pt x="1032" y="401"/>
                </a:lnTo>
                <a:lnTo>
                  <a:pt x="1030" y="388"/>
                </a:lnTo>
                <a:lnTo>
                  <a:pt x="1027" y="381"/>
                </a:lnTo>
                <a:lnTo>
                  <a:pt x="1020" y="378"/>
                </a:lnTo>
                <a:lnTo>
                  <a:pt x="1013" y="378"/>
                </a:lnTo>
                <a:lnTo>
                  <a:pt x="1007" y="379"/>
                </a:lnTo>
                <a:lnTo>
                  <a:pt x="988" y="381"/>
                </a:lnTo>
                <a:lnTo>
                  <a:pt x="971" y="381"/>
                </a:lnTo>
                <a:lnTo>
                  <a:pt x="955" y="381"/>
                </a:lnTo>
                <a:lnTo>
                  <a:pt x="936" y="383"/>
                </a:lnTo>
                <a:lnTo>
                  <a:pt x="926" y="383"/>
                </a:lnTo>
                <a:lnTo>
                  <a:pt x="917" y="384"/>
                </a:lnTo>
                <a:lnTo>
                  <a:pt x="912" y="389"/>
                </a:lnTo>
                <a:lnTo>
                  <a:pt x="907" y="394"/>
                </a:lnTo>
                <a:lnTo>
                  <a:pt x="904" y="403"/>
                </a:lnTo>
                <a:lnTo>
                  <a:pt x="901" y="411"/>
                </a:lnTo>
                <a:lnTo>
                  <a:pt x="899" y="421"/>
                </a:lnTo>
                <a:lnTo>
                  <a:pt x="899" y="431"/>
                </a:lnTo>
                <a:lnTo>
                  <a:pt x="897" y="445"/>
                </a:lnTo>
                <a:lnTo>
                  <a:pt x="897" y="460"/>
                </a:lnTo>
                <a:lnTo>
                  <a:pt x="897" y="475"/>
                </a:lnTo>
                <a:lnTo>
                  <a:pt x="897" y="490"/>
                </a:lnTo>
                <a:lnTo>
                  <a:pt x="907" y="500"/>
                </a:lnTo>
                <a:lnTo>
                  <a:pt x="919" y="511"/>
                </a:lnTo>
                <a:lnTo>
                  <a:pt x="926" y="516"/>
                </a:lnTo>
                <a:lnTo>
                  <a:pt x="933" y="519"/>
                </a:lnTo>
                <a:lnTo>
                  <a:pt x="943" y="521"/>
                </a:lnTo>
                <a:lnTo>
                  <a:pt x="953" y="522"/>
                </a:lnTo>
                <a:lnTo>
                  <a:pt x="963" y="526"/>
                </a:lnTo>
                <a:lnTo>
                  <a:pt x="968" y="531"/>
                </a:lnTo>
                <a:lnTo>
                  <a:pt x="970" y="532"/>
                </a:lnTo>
                <a:lnTo>
                  <a:pt x="970" y="536"/>
                </a:lnTo>
                <a:lnTo>
                  <a:pt x="968" y="539"/>
                </a:lnTo>
                <a:lnTo>
                  <a:pt x="965" y="543"/>
                </a:lnTo>
                <a:lnTo>
                  <a:pt x="960" y="556"/>
                </a:lnTo>
                <a:lnTo>
                  <a:pt x="955" y="568"/>
                </a:lnTo>
                <a:lnTo>
                  <a:pt x="960" y="575"/>
                </a:lnTo>
                <a:lnTo>
                  <a:pt x="961" y="580"/>
                </a:lnTo>
                <a:lnTo>
                  <a:pt x="961" y="583"/>
                </a:lnTo>
                <a:lnTo>
                  <a:pt x="960" y="586"/>
                </a:lnTo>
                <a:lnTo>
                  <a:pt x="956" y="588"/>
                </a:lnTo>
                <a:lnTo>
                  <a:pt x="951" y="590"/>
                </a:lnTo>
                <a:lnTo>
                  <a:pt x="946" y="588"/>
                </a:lnTo>
                <a:lnTo>
                  <a:pt x="941" y="586"/>
                </a:lnTo>
                <a:lnTo>
                  <a:pt x="914" y="591"/>
                </a:lnTo>
                <a:lnTo>
                  <a:pt x="887" y="600"/>
                </a:lnTo>
                <a:lnTo>
                  <a:pt x="862" y="610"/>
                </a:lnTo>
                <a:lnTo>
                  <a:pt x="835" y="620"/>
                </a:lnTo>
                <a:lnTo>
                  <a:pt x="825" y="623"/>
                </a:lnTo>
                <a:lnTo>
                  <a:pt x="816" y="628"/>
                </a:lnTo>
                <a:lnTo>
                  <a:pt x="808" y="633"/>
                </a:lnTo>
                <a:lnTo>
                  <a:pt x="801" y="640"/>
                </a:lnTo>
                <a:lnTo>
                  <a:pt x="788" y="652"/>
                </a:lnTo>
                <a:lnTo>
                  <a:pt x="778" y="664"/>
                </a:lnTo>
                <a:lnTo>
                  <a:pt x="771" y="672"/>
                </a:lnTo>
                <a:lnTo>
                  <a:pt x="764" y="677"/>
                </a:lnTo>
                <a:lnTo>
                  <a:pt x="758" y="681"/>
                </a:lnTo>
                <a:lnTo>
                  <a:pt x="751" y="682"/>
                </a:lnTo>
                <a:lnTo>
                  <a:pt x="744" y="682"/>
                </a:lnTo>
                <a:lnTo>
                  <a:pt x="736" y="682"/>
                </a:lnTo>
                <a:lnTo>
                  <a:pt x="729" y="681"/>
                </a:lnTo>
                <a:lnTo>
                  <a:pt x="721" y="677"/>
                </a:lnTo>
                <a:lnTo>
                  <a:pt x="704" y="681"/>
                </a:lnTo>
                <a:lnTo>
                  <a:pt x="687" y="682"/>
                </a:lnTo>
                <a:lnTo>
                  <a:pt x="672" y="681"/>
                </a:lnTo>
                <a:lnTo>
                  <a:pt x="658" y="677"/>
                </a:lnTo>
                <a:lnTo>
                  <a:pt x="641" y="679"/>
                </a:lnTo>
                <a:lnTo>
                  <a:pt x="628" y="682"/>
                </a:lnTo>
                <a:lnTo>
                  <a:pt x="618" y="686"/>
                </a:lnTo>
                <a:lnTo>
                  <a:pt x="606" y="692"/>
                </a:lnTo>
                <a:lnTo>
                  <a:pt x="594" y="701"/>
                </a:lnTo>
                <a:lnTo>
                  <a:pt x="583" y="706"/>
                </a:lnTo>
                <a:lnTo>
                  <a:pt x="569" y="709"/>
                </a:lnTo>
                <a:lnTo>
                  <a:pt x="556" y="711"/>
                </a:lnTo>
                <a:lnTo>
                  <a:pt x="544" y="721"/>
                </a:lnTo>
                <a:lnTo>
                  <a:pt x="534" y="731"/>
                </a:lnTo>
                <a:lnTo>
                  <a:pt x="525" y="736"/>
                </a:lnTo>
                <a:lnTo>
                  <a:pt x="519" y="738"/>
                </a:lnTo>
                <a:lnTo>
                  <a:pt x="510" y="738"/>
                </a:lnTo>
                <a:lnTo>
                  <a:pt x="502" y="735"/>
                </a:lnTo>
                <a:lnTo>
                  <a:pt x="497" y="731"/>
                </a:lnTo>
                <a:lnTo>
                  <a:pt x="492" y="731"/>
                </a:lnTo>
                <a:lnTo>
                  <a:pt x="485" y="731"/>
                </a:lnTo>
                <a:lnTo>
                  <a:pt x="478" y="731"/>
                </a:lnTo>
                <a:lnTo>
                  <a:pt x="465" y="736"/>
                </a:lnTo>
                <a:lnTo>
                  <a:pt x="450" y="741"/>
                </a:lnTo>
                <a:lnTo>
                  <a:pt x="443" y="746"/>
                </a:lnTo>
                <a:lnTo>
                  <a:pt x="436" y="750"/>
                </a:lnTo>
                <a:lnTo>
                  <a:pt x="429" y="751"/>
                </a:lnTo>
                <a:lnTo>
                  <a:pt x="423" y="753"/>
                </a:lnTo>
                <a:lnTo>
                  <a:pt x="407" y="753"/>
                </a:lnTo>
                <a:lnTo>
                  <a:pt x="394" y="751"/>
                </a:lnTo>
                <a:lnTo>
                  <a:pt x="384" y="748"/>
                </a:lnTo>
                <a:lnTo>
                  <a:pt x="375" y="748"/>
                </a:lnTo>
                <a:lnTo>
                  <a:pt x="365" y="750"/>
                </a:lnTo>
                <a:lnTo>
                  <a:pt x="357" y="751"/>
                </a:lnTo>
                <a:lnTo>
                  <a:pt x="343" y="755"/>
                </a:lnTo>
                <a:lnTo>
                  <a:pt x="330" y="755"/>
                </a:lnTo>
                <a:lnTo>
                  <a:pt x="317" y="751"/>
                </a:lnTo>
                <a:lnTo>
                  <a:pt x="305" y="745"/>
                </a:lnTo>
                <a:lnTo>
                  <a:pt x="286" y="738"/>
                </a:lnTo>
                <a:lnTo>
                  <a:pt x="269" y="731"/>
                </a:lnTo>
                <a:lnTo>
                  <a:pt x="251" y="724"/>
                </a:lnTo>
                <a:lnTo>
                  <a:pt x="234" y="718"/>
                </a:lnTo>
                <a:lnTo>
                  <a:pt x="222" y="714"/>
                </a:lnTo>
                <a:lnTo>
                  <a:pt x="214" y="709"/>
                </a:lnTo>
                <a:lnTo>
                  <a:pt x="209" y="706"/>
                </a:lnTo>
                <a:lnTo>
                  <a:pt x="207" y="701"/>
                </a:lnTo>
                <a:lnTo>
                  <a:pt x="207" y="696"/>
                </a:lnTo>
                <a:lnTo>
                  <a:pt x="210" y="689"/>
                </a:lnTo>
                <a:lnTo>
                  <a:pt x="216" y="684"/>
                </a:lnTo>
                <a:lnTo>
                  <a:pt x="222" y="677"/>
                </a:lnTo>
                <a:lnTo>
                  <a:pt x="237" y="665"/>
                </a:lnTo>
                <a:lnTo>
                  <a:pt x="244" y="655"/>
                </a:lnTo>
                <a:lnTo>
                  <a:pt x="244" y="652"/>
                </a:lnTo>
                <a:lnTo>
                  <a:pt x="241" y="650"/>
                </a:lnTo>
                <a:lnTo>
                  <a:pt x="234" y="649"/>
                </a:lnTo>
                <a:lnTo>
                  <a:pt x="222" y="649"/>
                </a:lnTo>
                <a:lnTo>
                  <a:pt x="214" y="649"/>
                </a:lnTo>
                <a:lnTo>
                  <a:pt x="207" y="647"/>
                </a:lnTo>
                <a:lnTo>
                  <a:pt x="202" y="645"/>
                </a:lnTo>
                <a:lnTo>
                  <a:pt x="197" y="640"/>
                </a:lnTo>
                <a:lnTo>
                  <a:pt x="195" y="635"/>
                </a:lnTo>
                <a:lnTo>
                  <a:pt x="194" y="628"/>
                </a:lnTo>
                <a:lnTo>
                  <a:pt x="195" y="618"/>
                </a:lnTo>
                <a:lnTo>
                  <a:pt x="199" y="608"/>
                </a:lnTo>
                <a:lnTo>
                  <a:pt x="202" y="595"/>
                </a:lnTo>
                <a:lnTo>
                  <a:pt x="204" y="581"/>
                </a:lnTo>
                <a:lnTo>
                  <a:pt x="202" y="571"/>
                </a:lnTo>
                <a:lnTo>
                  <a:pt x="200" y="564"/>
                </a:lnTo>
                <a:lnTo>
                  <a:pt x="195" y="558"/>
                </a:lnTo>
                <a:lnTo>
                  <a:pt x="190" y="553"/>
                </a:lnTo>
                <a:lnTo>
                  <a:pt x="182" y="549"/>
                </a:lnTo>
                <a:lnTo>
                  <a:pt x="172" y="549"/>
                </a:lnTo>
                <a:lnTo>
                  <a:pt x="158" y="546"/>
                </a:lnTo>
                <a:lnTo>
                  <a:pt x="145" y="541"/>
                </a:lnTo>
                <a:lnTo>
                  <a:pt x="131" y="534"/>
                </a:lnTo>
                <a:lnTo>
                  <a:pt x="120" y="526"/>
                </a:lnTo>
                <a:lnTo>
                  <a:pt x="120" y="521"/>
                </a:lnTo>
                <a:lnTo>
                  <a:pt x="120" y="516"/>
                </a:lnTo>
                <a:lnTo>
                  <a:pt x="115" y="506"/>
                </a:lnTo>
                <a:lnTo>
                  <a:pt x="110" y="497"/>
                </a:lnTo>
                <a:lnTo>
                  <a:pt x="116" y="480"/>
                </a:lnTo>
                <a:lnTo>
                  <a:pt x="123" y="463"/>
                </a:lnTo>
                <a:lnTo>
                  <a:pt x="115" y="442"/>
                </a:lnTo>
                <a:lnTo>
                  <a:pt x="108" y="420"/>
                </a:lnTo>
                <a:lnTo>
                  <a:pt x="113" y="396"/>
                </a:lnTo>
                <a:lnTo>
                  <a:pt x="118" y="374"/>
                </a:lnTo>
                <a:lnTo>
                  <a:pt x="108" y="372"/>
                </a:lnTo>
                <a:lnTo>
                  <a:pt x="98" y="371"/>
                </a:lnTo>
                <a:lnTo>
                  <a:pt x="98" y="361"/>
                </a:lnTo>
                <a:lnTo>
                  <a:pt x="101" y="351"/>
                </a:lnTo>
                <a:lnTo>
                  <a:pt x="106" y="337"/>
                </a:lnTo>
                <a:lnTo>
                  <a:pt x="115" y="324"/>
                </a:lnTo>
                <a:lnTo>
                  <a:pt x="110" y="293"/>
                </a:lnTo>
                <a:lnTo>
                  <a:pt x="106" y="265"/>
                </a:lnTo>
                <a:lnTo>
                  <a:pt x="103" y="234"/>
                </a:lnTo>
                <a:lnTo>
                  <a:pt x="99" y="206"/>
                </a:lnTo>
                <a:lnTo>
                  <a:pt x="93" y="207"/>
                </a:lnTo>
                <a:lnTo>
                  <a:pt x="86" y="207"/>
                </a:lnTo>
                <a:lnTo>
                  <a:pt x="81" y="207"/>
                </a:lnTo>
                <a:lnTo>
                  <a:pt x="78" y="204"/>
                </a:lnTo>
                <a:lnTo>
                  <a:pt x="72" y="197"/>
                </a:lnTo>
                <a:lnTo>
                  <a:pt x="67" y="191"/>
                </a:lnTo>
                <a:lnTo>
                  <a:pt x="64" y="182"/>
                </a:lnTo>
                <a:lnTo>
                  <a:pt x="61" y="174"/>
                </a:lnTo>
                <a:lnTo>
                  <a:pt x="57" y="169"/>
                </a:lnTo>
                <a:lnTo>
                  <a:pt x="51" y="162"/>
                </a:lnTo>
                <a:lnTo>
                  <a:pt x="40" y="152"/>
                </a:lnTo>
                <a:lnTo>
                  <a:pt x="27" y="142"/>
                </a:lnTo>
                <a:lnTo>
                  <a:pt x="32" y="137"/>
                </a:lnTo>
                <a:lnTo>
                  <a:pt x="34" y="130"/>
                </a:lnTo>
                <a:lnTo>
                  <a:pt x="35" y="123"/>
                </a:lnTo>
                <a:lnTo>
                  <a:pt x="34" y="115"/>
                </a:lnTo>
                <a:lnTo>
                  <a:pt x="30" y="106"/>
                </a:lnTo>
                <a:lnTo>
                  <a:pt x="25" y="96"/>
                </a:lnTo>
                <a:lnTo>
                  <a:pt x="19" y="85"/>
                </a:lnTo>
                <a:lnTo>
                  <a:pt x="10" y="73"/>
                </a:lnTo>
                <a:lnTo>
                  <a:pt x="12" y="74"/>
                </a:lnTo>
                <a:lnTo>
                  <a:pt x="17" y="73"/>
                </a:lnTo>
                <a:lnTo>
                  <a:pt x="20" y="73"/>
                </a:lnTo>
                <a:lnTo>
                  <a:pt x="22" y="69"/>
                </a:lnTo>
                <a:lnTo>
                  <a:pt x="24" y="66"/>
                </a:lnTo>
                <a:lnTo>
                  <a:pt x="25" y="59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     </a:t>
            </a:r>
            <a:endParaRPr lang="en-US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Freeform 20"/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4860925" y="2105025"/>
            <a:ext cx="1835150" cy="1751013"/>
          </a:xfrm>
          <a:custGeom>
            <a:avLst/>
            <a:gdLst>
              <a:gd name="T0" fmla="*/ 2147483647 w 1156"/>
              <a:gd name="T1" fmla="*/ 2147483647 h 1098"/>
              <a:gd name="T2" fmla="*/ 2147483647 w 1156"/>
              <a:gd name="T3" fmla="*/ 2147483647 h 1098"/>
              <a:gd name="T4" fmla="*/ 2147483647 w 1156"/>
              <a:gd name="T5" fmla="*/ 2147483647 h 1098"/>
              <a:gd name="T6" fmla="*/ 2147483647 w 1156"/>
              <a:gd name="T7" fmla="*/ 2147483647 h 1098"/>
              <a:gd name="T8" fmla="*/ 2147483647 w 1156"/>
              <a:gd name="T9" fmla="*/ 2147483647 h 1098"/>
              <a:gd name="T10" fmla="*/ 2147483647 w 1156"/>
              <a:gd name="T11" fmla="*/ 2147483647 h 1098"/>
              <a:gd name="T12" fmla="*/ 2147483647 w 1156"/>
              <a:gd name="T13" fmla="*/ 2147483647 h 1098"/>
              <a:gd name="T14" fmla="*/ 2147483647 w 1156"/>
              <a:gd name="T15" fmla="*/ 2147483647 h 1098"/>
              <a:gd name="T16" fmla="*/ 2147483647 w 1156"/>
              <a:gd name="T17" fmla="*/ 2147483647 h 1098"/>
              <a:gd name="T18" fmla="*/ 2147483647 w 1156"/>
              <a:gd name="T19" fmla="*/ 2147483647 h 1098"/>
              <a:gd name="T20" fmla="*/ 2147483647 w 1156"/>
              <a:gd name="T21" fmla="*/ 2147483647 h 1098"/>
              <a:gd name="T22" fmla="*/ 2147483647 w 1156"/>
              <a:gd name="T23" fmla="*/ 2147483647 h 1098"/>
              <a:gd name="T24" fmla="*/ 2147483647 w 1156"/>
              <a:gd name="T25" fmla="*/ 2147483647 h 1098"/>
              <a:gd name="T26" fmla="*/ 2147483647 w 1156"/>
              <a:gd name="T27" fmla="*/ 2147483647 h 1098"/>
              <a:gd name="T28" fmla="*/ 2147483647 w 1156"/>
              <a:gd name="T29" fmla="*/ 2147483647 h 1098"/>
              <a:gd name="T30" fmla="*/ 2147483647 w 1156"/>
              <a:gd name="T31" fmla="*/ 2147483647 h 1098"/>
              <a:gd name="T32" fmla="*/ 2147483647 w 1156"/>
              <a:gd name="T33" fmla="*/ 2147483647 h 1098"/>
              <a:gd name="T34" fmla="*/ 2147483647 w 1156"/>
              <a:gd name="T35" fmla="*/ 2147483647 h 1098"/>
              <a:gd name="T36" fmla="*/ 2147483647 w 1156"/>
              <a:gd name="T37" fmla="*/ 2147483647 h 1098"/>
              <a:gd name="T38" fmla="*/ 2147483647 w 1156"/>
              <a:gd name="T39" fmla="*/ 2147483647 h 1098"/>
              <a:gd name="T40" fmla="*/ 2147483647 w 1156"/>
              <a:gd name="T41" fmla="*/ 2147483647 h 1098"/>
              <a:gd name="T42" fmla="*/ 2147483647 w 1156"/>
              <a:gd name="T43" fmla="*/ 2147483647 h 1098"/>
              <a:gd name="T44" fmla="*/ 2147483647 w 1156"/>
              <a:gd name="T45" fmla="*/ 2147483647 h 1098"/>
              <a:gd name="T46" fmla="*/ 2147483647 w 1156"/>
              <a:gd name="T47" fmla="*/ 2147483647 h 1098"/>
              <a:gd name="T48" fmla="*/ 2147483647 w 1156"/>
              <a:gd name="T49" fmla="*/ 2147483647 h 1098"/>
              <a:gd name="T50" fmla="*/ 2147483647 w 1156"/>
              <a:gd name="T51" fmla="*/ 2147483647 h 1098"/>
              <a:gd name="T52" fmla="*/ 2147483647 w 1156"/>
              <a:gd name="T53" fmla="*/ 2147483647 h 1098"/>
              <a:gd name="T54" fmla="*/ 2147483647 w 1156"/>
              <a:gd name="T55" fmla="*/ 2147483647 h 1098"/>
              <a:gd name="T56" fmla="*/ 2147483647 w 1156"/>
              <a:gd name="T57" fmla="*/ 2147483647 h 1098"/>
              <a:gd name="T58" fmla="*/ 2147483647 w 1156"/>
              <a:gd name="T59" fmla="*/ 2147483647 h 1098"/>
              <a:gd name="T60" fmla="*/ 2147483647 w 1156"/>
              <a:gd name="T61" fmla="*/ 2147483647 h 1098"/>
              <a:gd name="T62" fmla="*/ 2147483647 w 1156"/>
              <a:gd name="T63" fmla="*/ 2147483647 h 1098"/>
              <a:gd name="T64" fmla="*/ 2147483647 w 1156"/>
              <a:gd name="T65" fmla="*/ 2147483647 h 1098"/>
              <a:gd name="T66" fmla="*/ 2147483647 w 1156"/>
              <a:gd name="T67" fmla="*/ 2147483647 h 1098"/>
              <a:gd name="T68" fmla="*/ 2147483647 w 1156"/>
              <a:gd name="T69" fmla="*/ 2147483647 h 1098"/>
              <a:gd name="T70" fmla="*/ 2147483647 w 1156"/>
              <a:gd name="T71" fmla="*/ 2147483647 h 1098"/>
              <a:gd name="T72" fmla="*/ 2147483647 w 1156"/>
              <a:gd name="T73" fmla="*/ 2147483647 h 1098"/>
              <a:gd name="T74" fmla="*/ 2147483647 w 1156"/>
              <a:gd name="T75" fmla="*/ 2147483647 h 1098"/>
              <a:gd name="T76" fmla="*/ 2147483647 w 1156"/>
              <a:gd name="T77" fmla="*/ 2147483647 h 1098"/>
              <a:gd name="T78" fmla="*/ 2147483647 w 1156"/>
              <a:gd name="T79" fmla="*/ 2147483647 h 1098"/>
              <a:gd name="T80" fmla="*/ 2147483647 w 1156"/>
              <a:gd name="T81" fmla="*/ 2147483647 h 1098"/>
              <a:gd name="T82" fmla="*/ 2147483647 w 1156"/>
              <a:gd name="T83" fmla="*/ 0 h 1098"/>
              <a:gd name="T84" fmla="*/ 2147483647 w 1156"/>
              <a:gd name="T85" fmla="*/ 2147483647 h 1098"/>
              <a:gd name="T86" fmla="*/ 2147483647 w 1156"/>
              <a:gd name="T87" fmla="*/ 2147483647 h 1098"/>
              <a:gd name="T88" fmla="*/ 2147483647 w 1156"/>
              <a:gd name="T89" fmla="*/ 2147483647 h 1098"/>
              <a:gd name="T90" fmla="*/ 2147483647 w 1156"/>
              <a:gd name="T91" fmla="*/ 2147483647 h 1098"/>
              <a:gd name="T92" fmla="*/ 2147483647 w 1156"/>
              <a:gd name="T93" fmla="*/ 2147483647 h 1098"/>
              <a:gd name="T94" fmla="*/ 2147483647 w 1156"/>
              <a:gd name="T95" fmla="*/ 2147483647 h 1098"/>
              <a:gd name="T96" fmla="*/ 2147483647 w 1156"/>
              <a:gd name="T97" fmla="*/ 2147483647 h 1098"/>
              <a:gd name="T98" fmla="*/ 2147483647 w 1156"/>
              <a:gd name="T99" fmla="*/ 2147483647 h 1098"/>
              <a:gd name="T100" fmla="*/ 2147483647 w 1156"/>
              <a:gd name="T101" fmla="*/ 2147483647 h 1098"/>
              <a:gd name="T102" fmla="*/ 2147483647 w 1156"/>
              <a:gd name="T103" fmla="*/ 2147483647 h 1098"/>
              <a:gd name="T104" fmla="*/ 2147483647 w 1156"/>
              <a:gd name="T105" fmla="*/ 2147483647 h 1098"/>
              <a:gd name="T106" fmla="*/ 2147483647 w 1156"/>
              <a:gd name="T107" fmla="*/ 2147483647 h 1098"/>
              <a:gd name="T108" fmla="*/ 2147483647 w 1156"/>
              <a:gd name="T109" fmla="*/ 2147483647 h 1098"/>
              <a:gd name="T110" fmla="*/ 2147483647 w 1156"/>
              <a:gd name="T111" fmla="*/ 2147483647 h 1098"/>
              <a:gd name="T112" fmla="*/ 2147483647 w 1156"/>
              <a:gd name="T113" fmla="*/ 2147483647 h 1098"/>
              <a:gd name="T114" fmla="*/ 2147483647 w 1156"/>
              <a:gd name="T115" fmla="*/ 2147483647 h 1098"/>
              <a:gd name="T116" fmla="*/ 2147483647 w 1156"/>
              <a:gd name="T117" fmla="*/ 2147483647 h 109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56"/>
              <a:gd name="T178" fmla="*/ 0 h 1098"/>
              <a:gd name="T179" fmla="*/ 1156 w 1156"/>
              <a:gd name="T180" fmla="*/ 1098 h 109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56" h="1098">
                <a:moveTo>
                  <a:pt x="1027" y="803"/>
                </a:moveTo>
                <a:lnTo>
                  <a:pt x="1018" y="803"/>
                </a:lnTo>
                <a:lnTo>
                  <a:pt x="1010" y="803"/>
                </a:lnTo>
                <a:lnTo>
                  <a:pt x="1001" y="800"/>
                </a:lnTo>
                <a:lnTo>
                  <a:pt x="993" y="800"/>
                </a:lnTo>
                <a:lnTo>
                  <a:pt x="986" y="801"/>
                </a:lnTo>
                <a:lnTo>
                  <a:pt x="979" y="805"/>
                </a:lnTo>
                <a:lnTo>
                  <a:pt x="974" y="810"/>
                </a:lnTo>
                <a:lnTo>
                  <a:pt x="971" y="815"/>
                </a:lnTo>
                <a:lnTo>
                  <a:pt x="966" y="822"/>
                </a:lnTo>
                <a:lnTo>
                  <a:pt x="963" y="830"/>
                </a:lnTo>
                <a:lnTo>
                  <a:pt x="961" y="837"/>
                </a:lnTo>
                <a:lnTo>
                  <a:pt x="958" y="843"/>
                </a:lnTo>
                <a:lnTo>
                  <a:pt x="954" y="848"/>
                </a:lnTo>
                <a:lnTo>
                  <a:pt x="951" y="854"/>
                </a:lnTo>
                <a:lnTo>
                  <a:pt x="946" y="859"/>
                </a:lnTo>
                <a:lnTo>
                  <a:pt x="941" y="862"/>
                </a:lnTo>
                <a:lnTo>
                  <a:pt x="934" y="864"/>
                </a:lnTo>
                <a:lnTo>
                  <a:pt x="926" y="865"/>
                </a:lnTo>
                <a:lnTo>
                  <a:pt x="900" y="872"/>
                </a:lnTo>
                <a:lnTo>
                  <a:pt x="875" y="877"/>
                </a:lnTo>
                <a:lnTo>
                  <a:pt x="850" y="882"/>
                </a:lnTo>
                <a:lnTo>
                  <a:pt x="826" y="889"/>
                </a:lnTo>
                <a:lnTo>
                  <a:pt x="818" y="889"/>
                </a:lnTo>
                <a:lnTo>
                  <a:pt x="813" y="889"/>
                </a:lnTo>
                <a:lnTo>
                  <a:pt x="808" y="887"/>
                </a:lnTo>
                <a:lnTo>
                  <a:pt x="804" y="886"/>
                </a:lnTo>
                <a:lnTo>
                  <a:pt x="801" y="882"/>
                </a:lnTo>
                <a:lnTo>
                  <a:pt x="799" y="879"/>
                </a:lnTo>
                <a:lnTo>
                  <a:pt x="799" y="874"/>
                </a:lnTo>
                <a:lnTo>
                  <a:pt x="801" y="869"/>
                </a:lnTo>
                <a:lnTo>
                  <a:pt x="801" y="855"/>
                </a:lnTo>
                <a:lnTo>
                  <a:pt x="803" y="843"/>
                </a:lnTo>
                <a:lnTo>
                  <a:pt x="803" y="830"/>
                </a:lnTo>
                <a:lnTo>
                  <a:pt x="803" y="818"/>
                </a:lnTo>
                <a:lnTo>
                  <a:pt x="798" y="810"/>
                </a:lnTo>
                <a:lnTo>
                  <a:pt x="793" y="805"/>
                </a:lnTo>
                <a:lnTo>
                  <a:pt x="788" y="805"/>
                </a:lnTo>
                <a:lnTo>
                  <a:pt x="783" y="806"/>
                </a:lnTo>
                <a:lnTo>
                  <a:pt x="777" y="808"/>
                </a:lnTo>
                <a:lnTo>
                  <a:pt x="774" y="808"/>
                </a:lnTo>
                <a:lnTo>
                  <a:pt x="769" y="803"/>
                </a:lnTo>
                <a:lnTo>
                  <a:pt x="764" y="796"/>
                </a:lnTo>
                <a:lnTo>
                  <a:pt x="754" y="788"/>
                </a:lnTo>
                <a:lnTo>
                  <a:pt x="745" y="779"/>
                </a:lnTo>
                <a:lnTo>
                  <a:pt x="737" y="771"/>
                </a:lnTo>
                <a:lnTo>
                  <a:pt x="730" y="763"/>
                </a:lnTo>
                <a:lnTo>
                  <a:pt x="720" y="744"/>
                </a:lnTo>
                <a:lnTo>
                  <a:pt x="714" y="727"/>
                </a:lnTo>
                <a:lnTo>
                  <a:pt x="720" y="734"/>
                </a:lnTo>
                <a:lnTo>
                  <a:pt x="729" y="741"/>
                </a:lnTo>
                <a:lnTo>
                  <a:pt x="734" y="742"/>
                </a:lnTo>
                <a:lnTo>
                  <a:pt x="739" y="742"/>
                </a:lnTo>
                <a:lnTo>
                  <a:pt x="744" y="739"/>
                </a:lnTo>
                <a:lnTo>
                  <a:pt x="749" y="732"/>
                </a:lnTo>
                <a:lnTo>
                  <a:pt x="745" y="731"/>
                </a:lnTo>
                <a:lnTo>
                  <a:pt x="744" y="729"/>
                </a:lnTo>
                <a:lnTo>
                  <a:pt x="745" y="726"/>
                </a:lnTo>
                <a:lnTo>
                  <a:pt x="749" y="722"/>
                </a:lnTo>
                <a:lnTo>
                  <a:pt x="744" y="719"/>
                </a:lnTo>
                <a:lnTo>
                  <a:pt x="740" y="715"/>
                </a:lnTo>
                <a:lnTo>
                  <a:pt x="739" y="714"/>
                </a:lnTo>
                <a:lnTo>
                  <a:pt x="739" y="712"/>
                </a:lnTo>
                <a:lnTo>
                  <a:pt x="744" y="707"/>
                </a:lnTo>
                <a:lnTo>
                  <a:pt x="747" y="704"/>
                </a:lnTo>
                <a:lnTo>
                  <a:pt x="757" y="694"/>
                </a:lnTo>
                <a:lnTo>
                  <a:pt x="766" y="682"/>
                </a:lnTo>
                <a:lnTo>
                  <a:pt x="762" y="680"/>
                </a:lnTo>
                <a:lnTo>
                  <a:pt x="757" y="680"/>
                </a:lnTo>
                <a:lnTo>
                  <a:pt x="759" y="670"/>
                </a:lnTo>
                <a:lnTo>
                  <a:pt x="759" y="660"/>
                </a:lnTo>
                <a:lnTo>
                  <a:pt x="757" y="657"/>
                </a:lnTo>
                <a:lnTo>
                  <a:pt x="754" y="655"/>
                </a:lnTo>
                <a:lnTo>
                  <a:pt x="752" y="633"/>
                </a:lnTo>
                <a:lnTo>
                  <a:pt x="749" y="611"/>
                </a:lnTo>
                <a:lnTo>
                  <a:pt x="744" y="609"/>
                </a:lnTo>
                <a:lnTo>
                  <a:pt x="739" y="611"/>
                </a:lnTo>
                <a:lnTo>
                  <a:pt x="735" y="614"/>
                </a:lnTo>
                <a:lnTo>
                  <a:pt x="734" y="621"/>
                </a:lnTo>
                <a:lnTo>
                  <a:pt x="730" y="635"/>
                </a:lnTo>
                <a:lnTo>
                  <a:pt x="727" y="648"/>
                </a:lnTo>
                <a:lnTo>
                  <a:pt x="725" y="655"/>
                </a:lnTo>
                <a:lnTo>
                  <a:pt x="727" y="662"/>
                </a:lnTo>
                <a:lnTo>
                  <a:pt x="727" y="670"/>
                </a:lnTo>
                <a:lnTo>
                  <a:pt x="729" y="677"/>
                </a:lnTo>
                <a:lnTo>
                  <a:pt x="720" y="685"/>
                </a:lnTo>
                <a:lnTo>
                  <a:pt x="712" y="692"/>
                </a:lnTo>
                <a:lnTo>
                  <a:pt x="707" y="694"/>
                </a:lnTo>
                <a:lnTo>
                  <a:pt x="702" y="694"/>
                </a:lnTo>
                <a:lnTo>
                  <a:pt x="698" y="694"/>
                </a:lnTo>
                <a:lnTo>
                  <a:pt x="695" y="692"/>
                </a:lnTo>
                <a:lnTo>
                  <a:pt x="692" y="690"/>
                </a:lnTo>
                <a:lnTo>
                  <a:pt x="690" y="687"/>
                </a:lnTo>
                <a:lnTo>
                  <a:pt x="688" y="683"/>
                </a:lnTo>
                <a:lnTo>
                  <a:pt x="688" y="678"/>
                </a:lnTo>
                <a:lnTo>
                  <a:pt x="678" y="672"/>
                </a:lnTo>
                <a:lnTo>
                  <a:pt x="670" y="667"/>
                </a:lnTo>
                <a:lnTo>
                  <a:pt x="663" y="665"/>
                </a:lnTo>
                <a:lnTo>
                  <a:pt x="656" y="663"/>
                </a:lnTo>
                <a:lnTo>
                  <a:pt x="648" y="657"/>
                </a:lnTo>
                <a:lnTo>
                  <a:pt x="639" y="650"/>
                </a:lnTo>
                <a:lnTo>
                  <a:pt x="636" y="651"/>
                </a:lnTo>
                <a:lnTo>
                  <a:pt x="633" y="655"/>
                </a:lnTo>
                <a:lnTo>
                  <a:pt x="646" y="670"/>
                </a:lnTo>
                <a:lnTo>
                  <a:pt x="666" y="687"/>
                </a:lnTo>
                <a:lnTo>
                  <a:pt x="666" y="695"/>
                </a:lnTo>
                <a:lnTo>
                  <a:pt x="665" y="702"/>
                </a:lnTo>
                <a:lnTo>
                  <a:pt x="663" y="709"/>
                </a:lnTo>
                <a:lnTo>
                  <a:pt x="658" y="712"/>
                </a:lnTo>
                <a:lnTo>
                  <a:pt x="653" y="717"/>
                </a:lnTo>
                <a:lnTo>
                  <a:pt x="648" y="719"/>
                </a:lnTo>
                <a:lnTo>
                  <a:pt x="639" y="719"/>
                </a:lnTo>
                <a:lnTo>
                  <a:pt x="631" y="719"/>
                </a:lnTo>
                <a:lnTo>
                  <a:pt x="626" y="712"/>
                </a:lnTo>
                <a:lnTo>
                  <a:pt x="623" y="705"/>
                </a:lnTo>
                <a:lnTo>
                  <a:pt x="618" y="705"/>
                </a:lnTo>
                <a:lnTo>
                  <a:pt x="614" y="704"/>
                </a:lnTo>
                <a:lnTo>
                  <a:pt x="609" y="709"/>
                </a:lnTo>
                <a:lnTo>
                  <a:pt x="607" y="715"/>
                </a:lnTo>
                <a:lnTo>
                  <a:pt x="607" y="721"/>
                </a:lnTo>
                <a:lnTo>
                  <a:pt x="609" y="727"/>
                </a:lnTo>
                <a:lnTo>
                  <a:pt x="607" y="742"/>
                </a:lnTo>
                <a:lnTo>
                  <a:pt x="607" y="756"/>
                </a:lnTo>
                <a:lnTo>
                  <a:pt x="607" y="768"/>
                </a:lnTo>
                <a:lnTo>
                  <a:pt x="609" y="781"/>
                </a:lnTo>
                <a:lnTo>
                  <a:pt x="611" y="791"/>
                </a:lnTo>
                <a:lnTo>
                  <a:pt x="616" y="801"/>
                </a:lnTo>
                <a:lnTo>
                  <a:pt x="621" y="810"/>
                </a:lnTo>
                <a:lnTo>
                  <a:pt x="626" y="818"/>
                </a:lnTo>
                <a:lnTo>
                  <a:pt x="626" y="827"/>
                </a:lnTo>
                <a:lnTo>
                  <a:pt x="626" y="835"/>
                </a:lnTo>
                <a:lnTo>
                  <a:pt x="631" y="833"/>
                </a:lnTo>
                <a:lnTo>
                  <a:pt x="636" y="832"/>
                </a:lnTo>
                <a:lnTo>
                  <a:pt x="658" y="847"/>
                </a:lnTo>
                <a:lnTo>
                  <a:pt x="678" y="860"/>
                </a:lnTo>
                <a:lnTo>
                  <a:pt x="690" y="862"/>
                </a:lnTo>
                <a:lnTo>
                  <a:pt x="700" y="862"/>
                </a:lnTo>
                <a:lnTo>
                  <a:pt x="700" y="870"/>
                </a:lnTo>
                <a:lnTo>
                  <a:pt x="700" y="879"/>
                </a:lnTo>
                <a:lnTo>
                  <a:pt x="693" y="880"/>
                </a:lnTo>
                <a:lnTo>
                  <a:pt x="685" y="882"/>
                </a:lnTo>
                <a:lnTo>
                  <a:pt x="693" y="889"/>
                </a:lnTo>
                <a:lnTo>
                  <a:pt x="702" y="894"/>
                </a:lnTo>
                <a:lnTo>
                  <a:pt x="690" y="919"/>
                </a:lnTo>
                <a:lnTo>
                  <a:pt x="678" y="943"/>
                </a:lnTo>
                <a:lnTo>
                  <a:pt x="682" y="955"/>
                </a:lnTo>
                <a:lnTo>
                  <a:pt x="683" y="966"/>
                </a:lnTo>
                <a:lnTo>
                  <a:pt x="683" y="976"/>
                </a:lnTo>
                <a:lnTo>
                  <a:pt x="683" y="987"/>
                </a:lnTo>
                <a:lnTo>
                  <a:pt x="682" y="1007"/>
                </a:lnTo>
                <a:lnTo>
                  <a:pt x="676" y="1027"/>
                </a:lnTo>
                <a:lnTo>
                  <a:pt x="673" y="1027"/>
                </a:lnTo>
                <a:lnTo>
                  <a:pt x="670" y="1029"/>
                </a:lnTo>
                <a:lnTo>
                  <a:pt x="666" y="1032"/>
                </a:lnTo>
                <a:lnTo>
                  <a:pt x="661" y="1037"/>
                </a:lnTo>
                <a:lnTo>
                  <a:pt x="655" y="1049"/>
                </a:lnTo>
                <a:lnTo>
                  <a:pt x="646" y="1062"/>
                </a:lnTo>
                <a:lnTo>
                  <a:pt x="636" y="1069"/>
                </a:lnTo>
                <a:lnTo>
                  <a:pt x="629" y="1078"/>
                </a:lnTo>
                <a:lnTo>
                  <a:pt x="623" y="1088"/>
                </a:lnTo>
                <a:lnTo>
                  <a:pt x="616" y="1098"/>
                </a:lnTo>
                <a:lnTo>
                  <a:pt x="604" y="1089"/>
                </a:lnTo>
                <a:lnTo>
                  <a:pt x="592" y="1083"/>
                </a:lnTo>
                <a:lnTo>
                  <a:pt x="586" y="1076"/>
                </a:lnTo>
                <a:lnTo>
                  <a:pt x="577" y="1071"/>
                </a:lnTo>
                <a:lnTo>
                  <a:pt x="570" y="1067"/>
                </a:lnTo>
                <a:lnTo>
                  <a:pt x="564" y="1066"/>
                </a:lnTo>
                <a:lnTo>
                  <a:pt x="559" y="1066"/>
                </a:lnTo>
                <a:lnTo>
                  <a:pt x="554" y="1066"/>
                </a:lnTo>
                <a:lnTo>
                  <a:pt x="547" y="1066"/>
                </a:lnTo>
                <a:lnTo>
                  <a:pt x="542" y="1067"/>
                </a:lnTo>
                <a:lnTo>
                  <a:pt x="537" y="1071"/>
                </a:lnTo>
                <a:lnTo>
                  <a:pt x="532" y="1072"/>
                </a:lnTo>
                <a:lnTo>
                  <a:pt x="527" y="1074"/>
                </a:lnTo>
                <a:lnTo>
                  <a:pt x="522" y="1072"/>
                </a:lnTo>
                <a:lnTo>
                  <a:pt x="518" y="1072"/>
                </a:lnTo>
                <a:lnTo>
                  <a:pt x="513" y="1069"/>
                </a:lnTo>
                <a:lnTo>
                  <a:pt x="510" y="1066"/>
                </a:lnTo>
                <a:lnTo>
                  <a:pt x="505" y="1062"/>
                </a:lnTo>
                <a:lnTo>
                  <a:pt x="493" y="1051"/>
                </a:lnTo>
                <a:lnTo>
                  <a:pt x="483" y="1040"/>
                </a:lnTo>
                <a:lnTo>
                  <a:pt x="478" y="1037"/>
                </a:lnTo>
                <a:lnTo>
                  <a:pt x="474" y="1034"/>
                </a:lnTo>
                <a:lnTo>
                  <a:pt x="471" y="1032"/>
                </a:lnTo>
                <a:lnTo>
                  <a:pt x="468" y="1032"/>
                </a:lnTo>
                <a:lnTo>
                  <a:pt x="464" y="1032"/>
                </a:lnTo>
                <a:lnTo>
                  <a:pt x="461" y="1034"/>
                </a:lnTo>
                <a:lnTo>
                  <a:pt x="458" y="1037"/>
                </a:lnTo>
                <a:lnTo>
                  <a:pt x="454" y="1040"/>
                </a:lnTo>
                <a:lnTo>
                  <a:pt x="448" y="1052"/>
                </a:lnTo>
                <a:lnTo>
                  <a:pt x="441" y="1064"/>
                </a:lnTo>
                <a:lnTo>
                  <a:pt x="434" y="1071"/>
                </a:lnTo>
                <a:lnTo>
                  <a:pt x="427" y="1074"/>
                </a:lnTo>
                <a:lnTo>
                  <a:pt x="424" y="1072"/>
                </a:lnTo>
                <a:lnTo>
                  <a:pt x="421" y="1071"/>
                </a:lnTo>
                <a:lnTo>
                  <a:pt x="417" y="1067"/>
                </a:lnTo>
                <a:lnTo>
                  <a:pt x="416" y="1062"/>
                </a:lnTo>
                <a:lnTo>
                  <a:pt x="409" y="1059"/>
                </a:lnTo>
                <a:lnTo>
                  <a:pt x="400" y="1056"/>
                </a:lnTo>
                <a:lnTo>
                  <a:pt x="394" y="1054"/>
                </a:lnTo>
                <a:lnTo>
                  <a:pt x="385" y="1052"/>
                </a:lnTo>
                <a:lnTo>
                  <a:pt x="367" y="1052"/>
                </a:lnTo>
                <a:lnTo>
                  <a:pt x="348" y="1054"/>
                </a:lnTo>
                <a:lnTo>
                  <a:pt x="347" y="1037"/>
                </a:lnTo>
                <a:lnTo>
                  <a:pt x="347" y="1022"/>
                </a:lnTo>
                <a:lnTo>
                  <a:pt x="348" y="1008"/>
                </a:lnTo>
                <a:lnTo>
                  <a:pt x="350" y="997"/>
                </a:lnTo>
                <a:lnTo>
                  <a:pt x="353" y="985"/>
                </a:lnTo>
                <a:lnTo>
                  <a:pt x="357" y="976"/>
                </a:lnTo>
                <a:lnTo>
                  <a:pt x="362" y="968"/>
                </a:lnTo>
                <a:lnTo>
                  <a:pt x="367" y="961"/>
                </a:lnTo>
                <a:lnTo>
                  <a:pt x="377" y="936"/>
                </a:lnTo>
                <a:lnTo>
                  <a:pt x="385" y="916"/>
                </a:lnTo>
                <a:lnTo>
                  <a:pt x="395" y="899"/>
                </a:lnTo>
                <a:lnTo>
                  <a:pt x="404" y="887"/>
                </a:lnTo>
                <a:lnTo>
                  <a:pt x="417" y="867"/>
                </a:lnTo>
                <a:lnTo>
                  <a:pt x="429" y="847"/>
                </a:lnTo>
                <a:lnTo>
                  <a:pt x="439" y="825"/>
                </a:lnTo>
                <a:lnTo>
                  <a:pt x="448" y="800"/>
                </a:lnTo>
                <a:lnTo>
                  <a:pt x="453" y="795"/>
                </a:lnTo>
                <a:lnTo>
                  <a:pt x="454" y="788"/>
                </a:lnTo>
                <a:lnTo>
                  <a:pt x="453" y="783"/>
                </a:lnTo>
                <a:lnTo>
                  <a:pt x="451" y="776"/>
                </a:lnTo>
                <a:lnTo>
                  <a:pt x="446" y="769"/>
                </a:lnTo>
                <a:lnTo>
                  <a:pt x="439" y="763"/>
                </a:lnTo>
                <a:lnTo>
                  <a:pt x="432" y="756"/>
                </a:lnTo>
                <a:lnTo>
                  <a:pt x="422" y="749"/>
                </a:lnTo>
                <a:lnTo>
                  <a:pt x="412" y="739"/>
                </a:lnTo>
                <a:lnTo>
                  <a:pt x="405" y="729"/>
                </a:lnTo>
                <a:lnTo>
                  <a:pt x="400" y="719"/>
                </a:lnTo>
                <a:lnTo>
                  <a:pt x="399" y="709"/>
                </a:lnTo>
                <a:lnTo>
                  <a:pt x="394" y="700"/>
                </a:lnTo>
                <a:lnTo>
                  <a:pt x="390" y="694"/>
                </a:lnTo>
                <a:lnTo>
                  <a:pt x="387" y="687"/>
                </a:lnTo>
                <a:lnTo>
                  <a:pt x="385" y="678"/>
                </a:lnTo>
                <a:lnTo>
                  <a:pt x="385" y="665"/>
                </a:lnTo>
                <a:lnTo>
                  <a:pt x="387" y="650"/>
                </a:lnTo>
                <a:lnTo>
                  <a:pt x="385" y="631"/>
                </a:lnTo>
                <a:lnTo>
                  <a:pt x="382" y="613"/>
                </a:lnTo>
                <a:lnTo>
                  <a:pt x="379" y="606"/>
                </a:lnTo>
                <a:lnTo>
                  <a:pt x="377" y="601"/>
                </a:lnTo>
                <a:lnTo>
                  <a:pt x="373" y="598"/>
                </a:lnTo>
                <a:lnTo>
                  <a:pt x="370" y="596"/>
                </a:lnTo>
                <a:lnTo>
                  <a:pt x="367" y="596"/>
                </a:lnTo>
                <a:lnTo>
                  <a:pt x="363" y="598"/>
                </a:lnTo>
                <a:lnTo>
                  <a:pt x="358" y="601"/>
                </a:lnTo>
                <a:lnTo>
                  <a:pt x="355" y="606"/>
                </a:lnTo>
                <a:lnTo>
                  <a:pt x="347" y="616"/>
                </a:lnTo>
                <a:lnTo>
                  <a:pt x="340" y="628"/>
                </a:lnTo>
                <a:lnTo>
                  <a:pt x="333" y="633"/>
                </a:lnTo>
                <a:lnTo>
                  <a:pt x="328" y="636"/>
                </a:lnTo>
                <a:lnTo>
                  <a:pt x="323" y="636"/>
                </a:lnTo>
                <a:lnTo>
                  <a:pt x="320" y="635"/>
                </a:lnTo>
                <a:lnTo>
                  <a:pt x="320" y="630"/>
                </a:lnTo>
                <a:lnTo>
                  <a:pt x="320" y="623"/>
                </a:lnTo>
                <a:lnTo>
                  <a:pt x="321" y="614"/>
                </a:lnTo>
                <a:lnTo>
                  <a:pt x="323" y="603"/>
                </a:lnTo>
                <a:lnTo>
                  <a:pt x="326" y="596"/>
                </a:lnTo>
                <a:lnTo>
                  <a:pt x="326" y="589"/>
                </a:lnTo>
                <a:lnTo>
                  <a:pt x="325" y="582"/>
                </a:lnTo>
                <a:lnTo>
                  <a:pt x="323" y="576"/>
                </a:lnTo>
                <a:lnTo>
                  <a:pt x="320" y="571"/>
                </a:lnTo>
                <a:lnTo>
                  <a:pt x="315" y="564"/>
                </a:lnTo>
                <a:lnTo>
                  <a:pt x="308" y="559"/>
                </a:lnTo>
                <a:lnTo>
                  <a:pt x="301" y="554"/>
                </a:lnTo>
                <a:lnTo>
                  <a:pt x="294" y="547"/>
                </a:lnTo>
                <a:lnTo>
                  <a:pt x="288" y="544"/>
                </a:lnTo>
                <a:lnTo>
                  <a:pt x="281" y="542"/>
                </a:lnTo>
                <a:lnTo>
                  <a:pt x="276" y="542"/>
                </a:lnTo>
                <a:lnTo>
                  <a:pt x="271" y="544"/>
                </a:lnTo>
                <a:lnTo>
                  <a:pt x="267" y="547"/>
                </a:lnTo>
                <a:lnTo>
                  <a:pt x="262" y="550"/>
                </a:lnTo>
                <a:lnTo>
                  <a:pt x="259" y="555"/>
                </a:lnTo>
                <a:lnTo>
                  <a:pt x="254" y="562"/>
                </a:lnTo>
                <a:lnTo>
                  <a:pt x="246" y="567"/>
                </a:lnTo>
                <a:lnTo>
                  <a:pt x="237" y="571"/>
                </a:lnTo>
                <a:lnTo>
                  <a:pt x="225" y="574"/>
                </a:lnTo>
                <a:lnTo>
                  <a:pt x="215" y="576"/>
                </a:lnTo>
                <a:lnTo>
                  <a:pt x="207" y="576"/>
                </a:lnTo>
                <a:lnTo>
                  <a:pt x="198" y="576"/>
                </a:lnTo>
                <a:lnTo>
                  <a:pt x="190" y="572"/>
                </a:lnTo>
                <a:lnTo>
                  <a:pt x="182" y="569"/>
                </a:lnTo>
                <a:lnTo>
                  <a:pt x="173" y="564"/>
                </a:lnTo>
                <a:lnTo>
                  <a:pt x="165" y="557"/>
                </a:lnTo>
                <a:lnTo>
                  <a:pt x="156" y="550"/>
                </a:lnTo>
                <a:lnTo>
                  <a:pt x="153" y="545"/>
                </a:lnTo>
                <a:lnTo>
                  <a:pt x="148" y="542"/>
                </a:lnTo>
                <a:lnTo>
                  <a:pt x="143" y="540"/>
                </a:lnTo>
                <a:lnTo>
                  <a:pt x="134" y="540"/>
                </a:lnTo>
                <a:lnTo>
                  <a:pt x="128" y="540"/>
                </a:lnTo>
                <a:lnTo>
                  <a:pt x="123" y="540"/>
                </a:lnTo>
                <a:lnTo>
                  <a:pt x="119" y="540"/>
                </a:lnTo>
                <a:lnTo>
                  <a:pt x="116" y="539"/>
                </a:lnTo>
                <a:lnTo>
                  <a:pt x="113" y="535"/>
                </a:lnTo>
                <a:lnTo>
                  <a:pt x="111" y="532"/>
                </a:lnTo>
                <a:lnTo>
                  <a:pt x="109" y="527"/>
                </a:lnTo>
                <a:lnTo>
                  <a:pt x="109" y="522"/>
                </a:lnTo>
                <a:lnTo>
                  <a:pt x="109" y="517"/>
                </a:lnTo>
                <a:lnTo>
                  <a:pt x="109" y="512"/>
                </a:lnTo>
                <a:lnTo>
                  <a:pt x="108" y="508"/>
                </a:lnTo>
                <a:lnTo>
                  <a:pt x="106" y="505"/>
                </a:lnTo>
                <a:lnTo>
                  <a:pt x="101" y="502"/>
                </a:lnTo>
                <a:lnTo>
                  <a:pt x="92" y="498"/>
                </a:lnTo>
                <a:lnTo>
                  <a:pt x="87" y="498"/>
                </a:lnTo>
                <a:lnTo>
                  <a:pt x="81" y="497"/>
                </a:lnTo>
                <a:lnTo>
                  <a:pt x="76" y="495"/>
                </a:lnTo>
                <a:lnTo>
                  <a:pt x="71" y="490"/>
                </a:lnTo>
                <a:lnTo>
                  <a:pt x="67" y="485"/>
                </a:lnTo>
                <a:lnTo>
                  <a:pt x="64" y="478"/>
                </a:lnTo>
                <a:lnTo>
                  <a:pt x="62" y="470"/>
                </a:lnTo>
                <a:lnTo>
                  <a:pt x="60" y="459"/>
                </a:lnTo>
                <a:lnTo>
                  <a:pt x="60" y="449"/>
                </a:lnTo>
                <a:lnTo>
                  <a:pt x="60" y="439"/>
                </a:lnTo>
                <a:lnTo>
                  <a:pt x="57" y="431"/>
                </a:lnTo>
                <a:lnTo>
                  <a:pt x="54" y="419"/>
                </a:lnTo>
                <a:lnTo>
                  <a:pt x="47" y="414"/>
                </a:lnTo>
                <a:lnTo>
                  <a:pt x="44" y="411"/>
                </a:lnTo>
                <a:lnTo>
                  <a:pt x="44" y="406"/>
                </a:lnTo>
                <a:lnTo>
                  <a:pt x="45" y="402"/>
                </a:lnTo>
                <a:lnTo>
                  <a:pt x="40" y="399"/>
                </a:lnTo>
                <a:lnTo>
                  <a:pt x="37" y="397"/>
                </a:lnTo>
                <a:lnTo>
                  <a:pt x="32" y="397"/>
                </a:lnTo>
                <a:lnTo>
                  <a:pt x="28" y="399"/>
                </a:lnTo>
                <a:lnTo>
                  <a:pt x="23" y="406"/>
                </a:lnTo>
                <a:lnTo>
                  <a:pt x="18" y="412"/>
                </a:lnTo>
                <a:lnTo>
                  <a:pt x="15" y="416"/>
                </a:lnTo>
                <a:lnTo>
                  <a:pt x="10" y="417"/>
                </a:lnTo>
                <a:lnTo>
                  <a:pt x="7" y="419"/>
                </a:lnTo>
                <a:lnTo>
                  <a:pt x="3" y="417"/>
                </a:lnTo>
                <a:lnTo>
                  <a:pt x="1" y="414"/>
                </a:lnTo>
                <a:lnTo>
                  <a:pt x="0" y="411"/>
                </a:lnTo>
                <a:lnTo>
                  <a:pt x="0" y="406"/>
                </a:lnTo>
                <a:lnTo>
                  <a:pt x="3" y="399"/>
                </a:lnTo>
                <a:lnTo>
                  <a:pt x="3" y="394"/>
                </a:lnTo>
                <a:lnTo>
                  <a:pt x="3" y="387"/>
                </a:lnTo>
                <a:lnTo>
                  <a:pt x="12" y="387"/>
                </a:lnTo>
                <a:lnTo>
                  <a:pt x="22" y="385"/>
                </a:lnTo>
                <a:lnTo>
                  <a:pt x="30" y="380"/>
                </a:lnTo>
                <a:lnTo>
                  <a:pt x="39" y="375"/>
                </a:lnTo>
                <a:lnTo>
                  <a:pt x="54" y="370"/>
                </a:lnTo>
                <a:lnTo>
                  <a:pt x="67" y="365"/>
                </a:lnTo>
                <a:lnTo>
                  <a:pt x="74" y="365"/>
                </a:lnTo>
                <a:lnTo>
                  <a:pt x="81" y="365"/>
                </a:lnTo>
                <a:lnTo>
                  <a:pt x="86" y="365"/>
                </a:lnTo>
                <a:lnTo>
                  <a:pt x="91" y="369"/>
                </a:lnTo>
                <a:lnTo>
                  <a:pt x="99" y="372"/>
                </a:lnTo>
                <a:lnTo>
                  <a:pt x="108" y="372"/>
                </a:lnTo>
                <a:lnTo>
                  <a:pt x="114" y="370"/>
                </a:lnTo>
                <a:lnTo>
                  <a:pt x="123" y="365"/>
                </a:lnTo>
                <a:lnTo>
                  <a:pt x="133" y="355"/>
                </a:lnTo>
                <a:lnTo>
                  <a:pt x="145" y="345"/>
                </a:lnTo>
                <a:lnTo>
                  <a:pt x="158" y="343"/>
                </a:lnTo>
                <a:lnTo>
                  <a:pt x="172" y="340"/>
                </a:lnTo>
                <a:lnTo>
                  <a:pt x="183" y="335"/>
                </a:lnTo>
                <a:lnTo>
                  <a:pt x="195" y="326"/>
                </a:lnTo>
                <a:lnTo>
                  <a:pt x="207" y="320"/>
                </a:lnTo>
                <a:lnTo>
                  <a:pt x="217" y="316"/>
                </a:lnTo>
                <a:lnTo>
                  <a:pt x="230" y="313"/>
                </a:lnTo>
                <a:lnTo>
                  <a:pt x="247" y="311"/>
                </a:lnTo>
                <a:lnTo>
                  <a:pt x="261" y="315"/>
                </a:lnTo>
                <a:lnTo>
                  <a:pt x="276" y="316"/>
                </a:lnTo>
                <a:lnTo>
                  <a:pt x="293" y="315"/>
                </a:lnTo>
                <a:lnTo>
                  <a:pt x="310" y="311"/>
                </a:lnTo>
                <a:lnTo>
                  <a:pt x="318" y="315"/>
                </a:lnTo>
                <a:lnTo>
                  <a:pt x="325" y="316"/>
                </a:lnTo>
                <a:lnTo>
                  <a:pt x="333" y="316"/>
                </a:lnTo>
                <a:lnTo>
                  <a:pt x="340" y="316"/>
                </a:lnTo>
                <a:lnTo>
                  <a:pt x="347" y="315"/>
                </a:lnTo>
                <a:lnTo>
                  <a:pt x="353" y="311"/>
                </a:lnTo>
                <a:lnTo>
                  <a:pt x="360" y="306"/>
                </a:lnTo>
                <a:lnTo>
                  <a:pt x="367" y="298"/>
                </a:lnTo>
                <a:lnTo>
                  <a:pt x="377" y="286"/>
                </a:lnTo>
                <a:lnTo>
                  <a:pt x="390" y="274"/>
                </a:lnTo>
                <a:lnTo>
                  <a:pt x="397" y="267"/>
                </a:lnTo>
                <a:lnTo>
                  <a:pt x="405" y="262"/>
                </a:lnTo>
                <a:lnTo>
                  <a:pt x="414" y="257"/>
                </a:lnTo>
                <a:lnTo>
                  <a:pt x="424" y="254"/>
                </a:lnTo>
                <a:lnTo>
                  <a:pt x="451" y="244"/>
                </a:lnTo>
                <a:lnTo>
                  <a:pt x="476" y="234"/>
                </a:lnTo>
                <a:lnTo>
                  <a:pt x="503" y="225"/>
                </a:lnTo>
                <a:lnTo>
                  <a:pt x="530" y="220"/>
                </a:lnTo>
                <a:lnTo>
                  <a:pt x="535" y="222"/>
                </a:lnTo>
                <a:lnTo>
                  <a:pt x="540" y="224"/>
                </a:lnTo>
                <a:lnTo>
                  <a:pt x="545" y="222"/>
                </a:lnTo>
                <a:lnTo>
                  <a:pt x="549" y="220"/>
                </a:lnTo>
                <a:lnTo>
                  <a:pt x="550" y="217"/>
                </a:lnTo>
                <a:lnTo>
                  <a:pt x="550" y="214"/>
                </a:lnTo>
                <a:lnTo>
                  <a:pt x="549" y="209"/>
                </a:lnTo>
                <a:lnTo>
                  <a:pt x="544" y="202"/>
                </a:lnTo>
                <a:lnTo>
                  <a:pt x="549" y="190"/>
                </a:lnTo>
                <a:lnTo>
                  <a:pt x="554" y="177"/>
                </a:lnTo>
                <a:lnTo>
                  <a:pt x="557" y="173"/>
                </a:lnTo>
                <a:lnTo>
                  <a:pt x="559" y="170"/>
                </a:lnTo>
                <a:lnTo>
                  <a:pt x="559" y="166"/>
                </a:lnTo>
                <a:lnTo>
                  <a:pt x="557" y="165"/>
                </a:lnTo>
                <a:lnTo>
                  <a:pt x="552" y="160"/>
                </a:lnTo>
                <a:lnTo>
                  <a:pt x="542" y="156"/>
                </a:lnTo>
                <a:lnTo>
                  <a:pt x="532" y="155"/>
                </a:lnTo>
                <a:lnTo>
                  <a:pt x="522" y="153"/>
                </a:lnTo>
                <a:lnTo>
                  <a:pt x="515" y="150"/>
                </a:lnTo>
                <a:lnTo>
                  <a:pt x="508" y="145"/>
                </a:lnTo>
                <a:lnTo>
                  <a:pt x="496" y="134"/>
                </a:lnTo>
                <a:lnTo>
                  <a:pt x="486" y="124"/>
                </a:lnTo>
                <a:lnTo>
                  <a:pt x="486" y="109"/>
                </a:lnTo>
                <a:lnTo>
                  <a:pt x="486" y="94"/>
                </a:lnTo>
                <a:lnTo>
                  <a:pt x="486" y="79"/>
                </a:lnTo>
                <a:lnTo>
                  <a:pt x="488" y="65"/>
                </a:lnTo>
                <a:lnTo>
                  <a:pt x="488" y="55"/>
                </a:lnTo>
                <a:lnTo>
                  <a:pt x="490" y="45"/>
                </a:lnTo>
                <a:lnTo>
                  <a:pt x="493" y="37"/>
                </a:lnTo>
                <a:lnTo>
                  <a:pt x="496" y="28"/>
                </a:lnTo>
                <a:lnTo>
                  <a:pt x="501" y="23"/>
                </a:lnTo>
                <a:lnTo>
                  <a:pt x="506" y="18"/>
                </a:lnTo>
                <a:lnTo>
                  <a:pt x="515" y="17"/>
                </a:lnTo>
                <a:lnTo>
                  <a:pt x="525" y="17"/>
                </a:lnTo>
                <a:lnTo>
                  <a:pt x="544" y="15"/>
                </a:lnTo>
                <a:lnTo>
                  <a:pt x="560" y="15"/>
                </a:lnTo>
                <a:lnTo>
                  <a:pt x="577" y="15"/>
                </a:lnTo>
                <a:lnTo>
                  <a:pt x="596" y="13"/>
                </a:lnTo>
                <a:lnTo>
                  <a:pt x="602" y="12"/>
                </a:lnTo>
                <a:lnTo>
                  <a:pt x="609" y="12"/>
                </a:lnTo>
                <a:lnTo>
                  <a:pt x="616" y="15"/>
                </a:lnTo>
                <a:lnTo>
                  <a:pt x="619" y="22"/>
                </a:lnTo>
                <a:lnTo>
                  <a:pt x="621" y="35"/>
                </a:lnTo>
                <a:lnTo>
                  <a:pt x="623" y="47"/>
                </a:lnTo>
                <a:lnTo>
                  <a:pt x="628" y="59"/>
                </a:lnTo>
                <a:lnTo>
                  <a:pt x="633" y="69"/>
                </a:lnTo>
                <a:lnTo>
                  <a:pt x="638" y="79"/>
                </a:lnTo>
                <a:lnTo>
                  <a:pt x="645" y="89"/>
                </a:lnTo>
                <a:lnTo>
                  <a:pt x="653" y="97"/>
                </a:lnTo>
                <a:lnTo>
                  <a:pt x="660" y="106"/>
                </a:lnTo>
                <a:lnTo>
                  <a:pt x="668" y="113"/>
                </a:lnTo>
                <a:lnTo>
                  <a:pt x="675" y="118"/>
                </a:lnTo>
                <a:lnTo>
                  <a:pt x="683" y="123"/>
                </a:lnTo>
                <a:lnTo>
                  <a:pt x="690" y="126"/>
                </a:lnTo>
                <a:lnTo>
                  <a:pt x="697" y="128"/>
                </a:lnTo>
                <a:lnTo>
                  <a:pt x="703" y="128"/>
                </a:lnTo>
                <a:lnTo>
                  <a:pt x="708" y="128"/>
                </a:lnTo>
                <a:lnTo>
                  <a:pt x="712" y="124"/>
                </a:lnTo>
                <a:lnTo>
                  <a:pt x="715" y="118"/>
                </a:lnTo>
                <a:lnTo>
                  <a:pt x="719" y="111"/>
                </a:lnTo>
                <a:lnTo>
                  <a:pt x="722" y="104"/>
                </a:lnTo>
                <a:lnTo>
                  <a:pt x="727" y="97"/>
                </a:lnTo>
                <a:lnTo>
                  <a:pt x="732" y="96"/>
                </a:lnTo>
                <a:lnTo>
                  <a:pt x="735" y="96"/>
                </a:lnTo>
                <a:lnTo>
                  <a:pt x="735" y="86"/>
                </a:lnTo>
                <a:lnTo>
                  <a:pt x="734" y="76"/>
                </a:lnTo>
                <a:lnTo>
                  <a:pt x="727" y="67"/>
                </a:lnTo>
                <a:lnTo>
                  <a:pt x="720" y="59"/>
                </a:lnTo>
                <a:lnTo>
                  <a:pt x="710" y="38"/>
                </a:lnTo>
                <a:lnTo>
                  <a:pt x="702" y="20"/>
                </a:lnTo>
                <a:lnTo>
                  <a:pt x="705" y="17"/>
                </a:lnTo>
                <a:lnTo>
                  <a:pt x="707" y="12"/>
                </a:lnTo>
                <a:lnTo>
                  <a:pt x="707" y="17"/>
                </a:lnTo>
                <a:lnTo>
                  <a:pt x="708" y="22"/>
                </a:lnTo>
                <a:lnTo>
                  <a:pt x="717" y="20"/>
                </a:lnTo>
                <a:lnTo>
                  <a:pt x="727" y="18"/>
                </a:lnTo>
                <a:lnTo>
                  <a:pt x="727" y="12"/>
                </a:lnTo>
                <a:lnTo>
                  <a:pt x="729" y="6"/>
                </a:lnTo>
                <a:lnTo>
                  <a:pt x="732" y="3"/>
                </a:lnTo>
                <a:lnTo>
                  <a:pt x="735" y="1"/>
                </a:lnTo>
                <a:lnTo>
                  <a:pt x="739" y="0"/>
                </a:lnTo>
                <a:lnTo>
                  <a:pt x="744" y="1"/>
                </a:lnTo>
                <a:lnTo>
                  <a:pt x="751" y="5"/>
                </a:lnTo>
                <a:lnTo>
                  <a:pt x="759" y="10"/>
                </a:lnTo>
                <a:lnTo>
                  <a:pt x="764" y="23"/>
                </a:lnTo>
                <a:lnTo>
                  <a:pt x="769" y="33"/>
                </a:lnTo>
                <a:lnTo>
                  <a:pt x="772" y="37"/>
                </a:lnTo>
                <a:lnTo>
                  <a:pt x="774" y="37"/>
                </a:lnTo>
                <a:lnTo>
                  <a:pt x="777" y="33"/>
                </a:lnTo>
                <a:lnTo>
                  <a:pt x="779" y="27"/>
                </a:lnTo>
                <a:lnTo>
                  <a:pt x="779" y="20"/>
                </a:lnTo>
                <a:lnTo>
                  <a:pt x="781" y="17"/>
                </a:lnTo>
                <a:lnTo>
                  <a:pt x="784" y="17"/>
                </a:lnTo>
                <a:lnTo>
                  <a:pt x="791" y="20"/>
                </a:lnTo>
                <a:lnTo>
                  <a:pt x="806" y="30"/>
                </a:lnTo>
                <a:lnTo>
                  <a:pt x="823" y="44"/>
                </a:lnTo>
                <a:lnTo>
                  <a:pt x="821" y="49"/>
                </a:lnTo>
                <a:lnTo>
                  <a:pt x="820" y="54"/>
                </a:lnTo>
                <a:lnTo>
                  <a:pt x="820" y="55"/>
                </a:lnTo>
                <a:lnTo>
                  <a:pt x="820" y="57"/>
                </a:lnTo>
                <a:lnTo>
                  <a:pt x="821" y="59"/>
                </a:lnTo>
                <a:lnTo>
                  <a:pt x="825" y="60"/>
                </a:lnTo>
                <a:lnTo>
                  <a:pt x="815" y="65"/>
                </a:lnTo>
                <a:lnTo>
                  <a:pt x="804" y="69"/>
                </a:lnTo>
                <a:lnTo>
                  <a:pt x="816" y="69"/>
                </a:lnTo>
                <a:lnTo>
                  <a:pt x="828" y="69"/>
                </a:lnTo>
                <a:lnTo>
                  <a:pt x="831" y="74"/>
                </a:lnTo>
                <a:lnTo>
                  <a:pt x="836" y="76"/>
                </a:lnTo>
                <a:lnTo>
                  <a:pt x="845" y="76"/>
                </a:lnTo>
                <a:lnTo>
                  <a:pt x="855" y="76"/>
                </a:lnTo>
                <a:lnTo>
                  <a:pt x="857" y="79"/>
                </a:lnTo>
                <a:lnTo>
                  <a:pt x="860" y="82"/>
                </a:lnTo>
                <a:lnTo>
                  <a:pt x="863" y="84"/>
                </a:lnTo>
                <a:lnTo>
                  <a:pt x="870" y="86"/>
                </a:lnTo>
                <a:lnTo>
                  <a:pt x="884" y="76"/>
                </a:lnTo>
                <a:lnTo>
                  <a:pt x="899" y="67"/>
                </a:lnTo>
                <a:lnTo>
                  <a:pt x="916" y="74"/>
                </a:lnTo>
                <a:lnTo>
                  <a:pt x="932" y="79"/>
                </a:lnTo>
                <a:lnTo>
                  <a:pt x="926" y="84"/>
                </a:lnTo>
                <a:lnTo>
                  <a:pt x="922" y="89"/>
                </a:lnTo>
                <a:lnTo>
                  <a:pt x="919" y="92"/>
                </a:lnTo>
                <a:lnTo>
                  <a:pt x="917" y="97"/>
                </a:lnTo>
                <a:lnTo>
                  <a:pt x="919" y="104"/>
                </a:lnTo>
                <a:lnTo>
                  <a:pt x="921" y="109"/>
                </a:lnTo>
                <a:lnTo>
                  <a:pt x="926" y="116"/>
                </a:lnTo>
                <a:lnTo>
                  <a:pt x="934" y="123"/>
                </a:lnTo>
                <a:lnTo>
                  <a:pt x="919" y="124"/>
                </a:lnTo>
                <a:lnTo>
                  <a:pt x="904" y="128"/>
                </a:lnTo>
                <a:lnTo>
                  <a:pt x="899" y="133"/>
                </a:lnTo>
                <a:lnTo>
                  <a:pt x="894" y="136"/>
                </a:lnTo>
                <a:lnTo>
                  <a:pt x="892" y="143"/>
                </a:lnTo>
                <a:lnTo>
                  <a:pt x="892" y="150"/>
                </a:lnTo>
                <a:lnTo>
                  <a:pt x="895" y="146"/>
                </a:lnTo>
                <a:lnTo>
                  <a:pt x="900" y="143"/>
                </a:lnTo>
                <a:lnTo>
                  <a:pt x="904" y="143"/>
                </a:lnTo>
                <a:lnTo>
                  <a:pt x="907" y="143"/>
                </a:lnTo>
                <a:lnTo>
                  <a:pt x="910" y="143"/>
                </a:lnTo>
                <a:lnTo>
                  <a:pt x="914" y="146"/>
                </a:lnTo>
                <a:lnTo>
                  <a:pt x="917" y="148"/>
                </a:lnTo>
                <a:lnTo>
                  <a:pt x="921" y="153"/>
                </a:lnTo>
                <a:lnTo>
                  <a:pt x="929" y="153"/>
                </a:lnTo>
                <a:lnTo>
                  <a:pt x="939" y="153"/>
                </a:lnTo>
                <a:lnTo>
                  <a:pt x="947" y="150"/>
                </a:lnTo>
                <a:lnTo>
                  <a:pt x="958" y="145"/>
                </a:lnTo>
                <a:lnTo>
                  <a:pt x="959" y="155"/>
                </a:lnTo>
                <a:lnTo>
                  <a:pt x="963" y="163"/>
                </a:lnTo>
                <a:lnTo>
                  <a:pt x="973" y="161"/>
                </a:lnTo>
                <a:lnTo>
                  <a:pt x="983" y="160"/>
                </a:lnTo>
                <a:lnTo>
                  <a:pt x="985" y="155"/>
                </a:lnTo>
                <a:lnTo>
                  <a:pt x="985" y="150"/>
                </a:lnTo>
                <a:lnTo>
                  <a:pt x="985" y="146"/>
                </a:lnTo>
                <a:lnTo>
                  <a:pt x="983" y="143"/>
                </a:lnTo>
                <a:lnTo>
                  <a:pt x="979" y="140"/>
                </a:lnTo>
                <a:lnTo>
                  <a:pt x="976" y="138"/>
                </a:lnTo>
                <a:lnTo>
                  <a:pt x="971" y="136"/>
                </a:lnTo>
                <a:lnTo>
                  <a:pt x="964" y="136"/>
                </a:lnTo>
                <a:lnTo>
                  <a:pt x="953" y="128"/>
                </a:lnTo>
                <a:lnTo>
                  <a:pt x="941" y="118"/>
                </a:lnTo>
                <a:lnTo>
                  <a:pt x="942" y="109"/>
                </a:lnTo>
                <a:lnTo>
                  <a:pt x="946" y="101"/>
                </a:lnTo>
                <a:lnTo>
                  <a:pt x="951" y="97"/>
                </a:lnTo>
                <a:lnTo>
                  <a:pt x="959" y="94"/>
                </a:lnTo>
                <a:lnTo>
                  <a:pt x="971" y="99"/>
                </a:lnTo>
                <a:lnTo>
                  <a:pt x="985" y="104"/>
                </a:lnTo>
                <a:lnTo>
                  <a:pt x="996" y="108"/>
                </a:lnTo>
                <a:lnTo>
                  <a:pt x="1010" y="113"/>
                </a:lnTo>
                <a:lnTo>
                  <a:pt x="1020" y="113"/>
                </a:lnTo>
                <a:lnTo>
                  <a:pt x="1028" y="113"/>
                </a:lnTo>
                <a:lnTo>
                  <a:pt x="1027" y="118"/>
                </a:lnTo>
                <a:lnTo>
                  <a:pt x="1023" y="124"/>
                </a:lnTo>
                <a:lnTo>
                  <a:pt x="1037" y="140"/>
                </a:lnTo>
                <a:lnTo>
                  <a:pt x="1050" y="156"/>
                </a:lnTo>
                <a:lnTo>
                  <a:pt x="1055" y="161"/>
                </a:lnTo>
                <a:lnTo>
                  <a:pt x="1062" y="165"/>
                </a:lnTo>
                <a:lnTo>
                  <a:pt x="1059" y="170"/>
                </a:lnTo>
                <a:lnTo>
                  <a:pt x="1054" y="175"/>
                </a:lnTo>
                <a:lnTo>
                  <a:pt x="1055" y="190"/>
                </a:lnTo>
                <a:lnTo>
                  <a:pt x="1054" y="204"/>
                </a:lnTo>
                <a:lnTo>
                  <a:pt x="1050" y="217"/>
                </a:lnTo>
                <a:lnTo>
                  <a:pt x="1050" y="227"/>
                </a:lnTo>
                <a:lnTo>
                  <a:pt x="1055" y="219"/>
                </a:lnTo>
                <a:lnTo>
                  <a:pt x="1062" y="212"/>
                </a:lnTo>
                <a:lnTo>
                  <a:pt x="1065" y="209"/>
                </a:lnTo>
                <a:lnTo>
                  <a:pt x="1069" y="207"/>
                </a:lnTo>
                <a:lnTo>
                  <a:pt x="1072" y="205"/>
                </a:lnTo>
                <a:lnTo>
                  <a:pt x="1077" y="205"/>
                </a:lnTo>
                <a:lnTo>
                  <a:pt x="1080" y="188"/>
                </a:lnTo>
                <a:lnTo>
                  <a:pt x="1084" y="172"/>
                </a:lnTo>
                <a:lnTo>
                  <a:pt x="1089" y="173"/>
                </a:lnTo>
                <a:lnTo>
                  <a:pt x="1094" y="175"/>
                </a:lnTo>
                <a:lnTo>
                  <a:pt x="1099" y="178"/>
                </a:lnTo>
                <a:lnTo>
                  <a:pt x="1102" y="182"/>
                </a:lnTo>
                <a:lnTo>
                  <a:pt x="1109" y="192"/>
                </a:lnTo>
                <a:lnTo>
                  <a:pt x="1116" y="205"/>
                </a:lnTo>
                <a:lnTo>
                  <a:pt x="1112" y="224"/>
                </a:lnTo>
                <a:lnTo>
                  <a:pt x="1111" y="241"/>
                </a:lnTo>
                <a:lnTo>
                  <a:pt x="1112" y="256"/>
                </a:lnTo>
                <a:lnTo>
                  <a:pt x="1118" y="271"/>
                </a:lnTo>
                <a:lnTo>
                  <a:pt x="1123" y="286"/>
                </a:lnTo>
                <a:lnTo>
                  <a:pt x="1133" y="299"/>
                </a:lnTo>
                <a:lnTo>
                  <a:pt x="1143" y="311"/>
                </a:lnTo>
                <a:lnTo>
                  <a:pt x="1156" y="323"/>
                </a:lnTo>
                <a:lnTo>
                  <a:pt x="1156" y="325"/>
                </a:lnTo>
                <a:lnTo>
                  <a:pt x="1131" y="325"/>
                </a:lnTo>
                <a:lnTo>
                  <a:pt x="1107" y="325"/>
                </a:lnTo>
                <a:lnTo>
                  <a:pt x="1104" y="335"/>
                </a:lnTo>
                <a:lnTo>
                  <a:pt x="1101" y="343"/>
                </a:lnTo>
                <a:lnTo>
                  <a:pt x="1097" y="347"/>
                </a:lnTo>
                <a:lnTo>
                  <a:pt x="1096" y="348"/>
                </a:lnTo>
                <a:lnTo>
                  <a:pt x="1092" y="350"/>
                </a:lnTo>
                <a:lnTo>
                  <a:pt x="1091" y="350"/>
                </a:lnTo>
                <a:lnTo>
                  <a:pt x="1086" y="347"/>
                </a:lnTo>
                <a:lnTo>
                  <a:pt x="1080" y="342"/>
                </a:lnTo>
                <a:lnTo>
                  <a:pt x="1075" y="338"/>
                </a:lnTo>
                <a:lnTo>
                  <a:pt x="1072" y="337"/>
                </a:lnTo>
                <a:lnTo>
                  <a:pt x="1069" y="338"/>
                </a:lnTo>
                <a:lnTo>
                  <a:pt x="1067" y="340"/>
                </a:lnTo>
                <a:lnTo>
                  <a:pt x="1064" y="347"/>
                </a:lnTo>
                <a:lnTo>
                  <a:pt x="1064" y="360"/>
                </a:lnTo>
                <a:lnTo>
                  <a:pt x="1059" y="370"/>
                </a:lnTo>
                <a:lnTo>
                  <a:pt x="1054" y="380"/>
                </a:lnTo>
                <a:lnTo>
                  <a:pt x="1048" y="389"/>
                </a:lnTo>
                <a:lnTo>
                  <a:pt x="1042" y="395"/>
                </a:lnTo>
                <a:lnTo>
                  <a:pt x="1035" y="401"/>
                </a:lnTo>
                <a:lnTo>
                  <a:pt x="1027" y="406"/>
                </a:lnTo>
                <a:lnTo>
                  <a:pt x="1017" y="409"/>
                </a:lnTo>
                <a:lnTo>
                  <a:pt x="1008" y="411"/>
                </a:lnTo>
                <a:lnTo>
                  <a:pt x="1001" y="409"/>
                </a:lnTo>
                <a:lnTo>
                  <a:pt x="996" y="409"/>
                </a:lnTo>
                <a:lnTo>
                  <a:pt x="993" y="409"/>
                </a:lnTo>
                <a:lnTo>
                  <a:pt x="990" y="412"/>
                </a:lnTo>
                <a:lnTo>
                  <a:pt x="988" y="417"/>
                </a:lnTo>
                <a:lnTo>
                  <a:pt x="988" y="424"/>
                </a:lnTo>
                <a:lnTo>
                  <a:pt x="985" y="439"/>
                </a:lnTo>
                <a:lnTo>
                  <a:pt x="983" y="453"/>
                </a:lnTo>
                <a:lnTo>
                  <a:pt x="974" y="473"/>
                </a:lnTo>
                <a:lnTo>
                  <a:pt x="964" y="495"/>
                </a:lnTo>
                <a:lnTo>
                  <a:pt x="946" y="513"/>
                </a:lnTo>
                <a:lnTo>
                  <a:pt x="926" y="539"/>
                </a:lnTo>
                <a:lnTo>
                  <a:pt x="919" y="545"/>
                </a:lnTo>
                <a:lnTo>
                  <a:pt x="916" y="552"/>
                </a:lnTo>
                <a:lnTo>
                  <a:pt x="914" y="562"/>
                </a:lnTo>
                <a:lnTo>
                  <a:pt x="916" y="572"/>
                </a:lnTo>
                <a:lnTo>
                  <a:pt x="926" y="587"/>
                </a:lnTo>
                <a:lnTo>
                  <a:pt x="936" y="604"/>
                </a:lnTo>
                <a:lnTo>
                  <a:pt x="946" y="603"/>
                </a:lnTo>
                <a:lnTo>
                  <a:pt x="954" y="603"/>
                </a:lnTo>
                <a:lnTo>
                  <a:pt x="963" y="603"/>
                </a:lnTo>
                <a:lnTo>
                  <a:pt x="971" y="606"/>
                </a:lnTo>
                <a:lnTo>
                  <a:pt x="978" y="609"/>
                </a:lnTo>
                <a:lnTo>
                  <a:pt x="985" y="614"/>
                </a:lnTo>
                <a:lnTo>
                  <a:pt x="990" y="619"/>
                </a:lnTo>
                <a:lnTo>
                  <a:pt x="996" y="626"/>
                </a:lnTo>
                <a:lnTo>
                  <a:pt x="1005" y="633"/>
                </a:lnTo>
                <a:lnTo>
                  <a:pt x="1010" y="640"/>
                </a:lnTo>
                <a:lnTo>
                  <a:pt x="1013" y="646"/>
                </a:lnTo>
                <a:lnTo>
                  <a:pt x="1015" y="655"/>
                </a:lnTo>
                <a:lnTo>
                  <a:pt x="1017" y="668"/>
                </a:lnTo>
                <a:lnTo>
                  <a:pt x="1015" y="682"/>
                </a:lnTo>
                <a:lnTo>
                  <a:pt x="1013" y="695"/>
                </a:lnTo>
                <a:lnTo>
                  <a:pt x="1015" y="702"/>
                </a:lnTo>
                <a:lnTo>
                  <a:pt x="1018" y="702"/>
                </a:lnTo>
                <a:lnTo>
                  <a:pt x="1022" y="704"/>
                </a:lnTo>
                <a:lnTo>
                  <a:pt x="1027" y="709"/>
                </a:lnTo>
                <a:lnTo>
                  <a:pt x="1030" y="715"/>
                </a:lnTo>
                <a:lnTo>
                  <a:pt x="1033" y="724"/>
                </a:lnTo>
                <a:lnTo>
                  <a:pt x="1033" y="732"/>
                </a:lnTo>
                <a:lnTo>
                  <a:pt x="1033" y="749"/>
                </a:lnTo>
                <a:lnTo>
                  <a:pt x="1032" y="768"/>
                </a:lnTo>
                <a:lnTo>
                  <a:pt x="1030" y="786"/>
                </a:lnTo>
                <a:lnTo>
                  <a:pt x="1027" y="803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dirty="0"/>
          </a:p>
        </p:txBody>
      </p:sp>
      <p:grpSp>
        <p:nvGrpSpPr>
          <p:cNvPr id="3" name="Группа 17"/>
          <p:cNvGrpSpPr/>
          <p:nvPr/>
        </p:nvGrpSpPr>
        <p:grpSpPr>
          <a:xfrm>
            <a:off x="2786050" y="2357430"/>
            <a:ext cx="3249612" cy="3271838"/>
            <a:chOff x="3141663" y="2317750"/>
            <a:chExt cx="3249612" cy="3271838"/>
          </a:xfrm>
          <a:solidFill>
            <a:srgbClr val="92D050"/>
          </a:solidFill>
        </p:grpSpPr>
        <p:sp>
          <p:nvSpPr>
            <p:cNvPr id="19" name="Freeform 21"/>
            <p:cNvSpPr>
              <a:spLocks noChangeAspect="1"/>
            </p:cNvSpPr>
            <p:nvPr/>
          </p:nvSpPr>
          <p:spPr bwMode="auto">
            <a:xfrm>
              <a:off x="3141663" y="2317750"/>
              <a:ext cx="3055937" cy="3146425"/>
            </a:xfrm>
            <a:custGeom>
              <a:avLst/>
              <a:gdLst>
                <a:gd name="T0" fmla="*/ 2147483647 w 1927"/>
                <a:gd name="T1" fmla="*/ 2147483647 h 1972"/>
                <a:gd name="T2" fmla="*/ 2147483647 w 1927"/>
                <a:gd name="T3" fmla="*/ 2147483647 h 1972"/>
                <a:gd name="T4" fmla="*/ 2147483647 w 1927"/>
                <a:gd name="T5" fmla="*/ 2147483647 h 1972"/>
                <a:gd name="T6" fmla="*/ 2147483647 w 1927"/>
                <a:gd name="T7" fmla="*/ 2147483647 h 1972"/>
                <a:gd name="T8" fmla="*/ 2147483647 w 1927"/>
                <a:gd name="T9" fmla="*/ 2147483647 h 1972"/>
                <a:gd name="T10" fmla="*/ 2147483647 w 1927"/>
                <a:gd name="T11" fmla="*/ 2147483647 h 1972"/>
                <a:gd name="T12" fmla="*/ 2147483647 w 1927"/>
                <a:gd name="T13" fmla="*/ 2147483647 h 1972"/>
                <a:gd name="T14" fmla="*/ 2147483647 w 1927"/>
                <a:gd name="T15" fmla="*/ 2147483647 h 1972"/>
                <a:gd name="T16" fmla="*/ 2147483647 w 1927"/>
                <a:gd name="T17" fmla="*/ 2147483647 h 1972"/>
                <a:gd name="T18" fmla="*/ 2147483647 w 1927"/>
                <a:gd name="T19" fmla="*/ 2147483647 h 1972"/>
                <a:gd name="T20" fmla="*/ 2147483647 w 1927"/>
                <a:gd name="T21" fmla="*/ 2147483647 h 1972"/>
                <a:gd name="T22" fmla="*/ 2147483647 w 1927"/>
                <a:gd name="T23" fmla="*/ 2147483647 h 1972"/>
                <a:gd name="T24" fmla="*/ 2147483647 w 1927"/>
                <a:gd name="T25" fmla="*/ 2147483647 h 1972"/>
                <a:gd name="T26" fmla="*/ 2147483647 w 1927"/>
                <a:gd name="T27" fmla="*/ 2147483647 h 1972"/>
                <a:gd name="T28" fmla="*/ 2147483647 w 1927"/>
                <a:gd name="T29" fmla="*/ 2147483647 h 1972"/>
                <a:gd name="T30" fmla="*/ 2147483647 w 1927"/>
                <a:gd name="T31" fmla="*/ 2147483647 h 1972"/>
                <a:gd name="T32" fmla="*/ 2147483647 w 1927"/>
                <a:gd name="T33" fmla="*/ 2147483647 h 1972"/>
                <a:gd name="T34" fmla="*/ 2147483647 w 1927"/>
                <a:gd name="T35" fmla="*/ 2147483647 h 1972"/>
                <a:gd name="T36" fmla="*/ 2147483647 w 1927"/>
                <a:gd name="T37" fmla="*/ 2147483647 h 1972"/>
                <a:gd name="T38" fmla="*/ 2147483647 w 1927"/>
                <a:gd name="T39" fmla="*/ 2147483647 h 1972"/>
                <a:gd name="T40" fmla="*/ 2147483647 w 1927"/>
                <a:gd name="T41" fmla="*/ 2147483647 h 1972"/>
                <a:gd name="T42" fmla="*/ 2147483647 w 1927"/>
                <a:gd name="T43" fmla="*/ 2147483647 h 1972"/>
                <a:gd name="T44" fmla="*/ 2147483647 w 1927"/>
                <a:gd name="T45" fmla="*/ 2147483647 h 1972"/>
                <a:gd name="T46" fmla="*/ 2147483647 w 1927"/>
                <a:gd name="T47" fmla="*/ 2147483647 h 1972"/>
                <a:gd name="T48" fmla="*/ 2147483647 w 1927"/>
                <a:gd name="T49" fmla="*/ 2147483647 h 1972"/>
                <a:gd name="T50" fmla="*/ 2147483647 w 1927"/>
                <a:gd name="T51" fmla="*/ 2147483647 h 1972"/>
                <a:gd name="T52" fmla="*/ 2147483647 w 1927"/>
                <a:gd name="T53" fmla="*/ 2147483647 h 1972"/>
                <a:gd name="T54" fmla="*/ 2147483647 w 1927"/>
                <a:gd name="T55" fmla="*/ 2147483647 h 1972"/>
                <a:gd name="T56" fmla="*/ 2147483647 w 1927"/>
                <a:gd name="T57" fmla="*/ 2147483647 h 1972"/>
                <a:gd name="T58" fmla="*/ 2147483647 w 1927"/>
                <a:gd name="T59" fmla="*/ 2147483647 h 1972"/>
                <a:gd name="T60" fmla="*/ 2147483647 w 1927"/>
                <a:gd name="T61" fmla="*/ 2147483647 h 1972"/>
                <a:gd name="T62" fmla="*/ 2147483647 w 1927"/>
                <a:gd name="T63" fmla="*/ 2147483647 h 1972"/>
                <a:gd name="T64" fmla="*/ 2147483647 w 1927"/>
                <a:gd name="T65" fmla="*/ 2147483647 h 1972"/>
                <a:gd name="T66" fmla="*/ 2147483647 w 1927"/>
                <a:gd name="T67" fmla="*/ 2147483647 h 1972"/>
                <a:gd name="T68" fmla="*/ 2147483647 w 1927"/>
                <a:gd name="T69" fmla="*/ 2147483647 h 1972"/>
                <a:gd name="T70" fmla="*/ 2147483647 w 1927"/>
                <a:gd name="T71" fmla="*/ 2147483647 h 1972"/>
                <a:gd name="T72" fmla="*/ 2147483647 w 1927"/>
                <a:gd name="T73" fmla="*/ 2147483647 h 1972"/>
                <a:gd name="T74" fmla="*/ 2147483647 w 1927"/>
                <a:gd name="T75" fmla="*/ 2147483647 h 1972"/>
                <a:gd name="T76" fmla="*/ 2147483647 w 1927"/>
                <a:gd name="T77" fmla="*/ 2147483647 h 1972"/>
                <a:gd name="T78" fmla="*/ 2147483647 w 1927"/>
                <a:gd name="T79" fmla="*/ 2147483647 h 1972"/>
                <a:gd name="T80" fmla="*/ 2147483647 w 1927"/>
                <a:gd name="T81" fmla="*/ 2147483647 h 1972"/>
                <a:gd name="T82" fmla="*/ 2147483647 w 1927"/>
                <a:gd name="T83" fmla="*/ 2147483647 h 1972"/>
                <a:gd name="T84" fmla="*/ 2147483647 w 1927"/>
                <a:gd name="T85" fmla="*/ 2147483647 h 1972"/>
                <a:gd name="T86" fmla="*/ 2147483647 w 1927"/>
                <a:gd name="T87" fmla="*/ 2147483647 h 1972"/>
                <a:gd name="T88" fmla="*/ 2147483647 w 1927"/>
                <a:gd name="T89" fmla="*/ 2147483647 h 1972"/>
                <a:gd name="T90" fmla="*/ 2147483647 w 1927"/>
                <a:gd name="T91" fmla="*/ 2147483647 h 1972"/>
                <a:gd name="T92" fmla="*/ 2147483647 w 1927"/>
                <a:gd name="T93" fmla="*/ 2147483647 h 1972"/>
                <a:gd name="T94" fmla="*/ 2147483647 w 1927"/>
                <a:gd name="T95" fmla="*/ 2147483647 h 1972"/>
                <a:gd name="T96" fmla="*/ 2147483647 w 1927"/>
                <a:gd name="T97" fmla="*/ 2147483647 h 1972"/>
                <a:gd name="T98" fmla="*/ 2147483647 w 1927"/>
                <a:gd name="T99" fmla="*/ 2147483647 h 1972"/>
                <a:gd name="T100" fmla="*/ 2147483647 w 1927"/>
                <a:gd name="T101" fmla="*/ 2147483647 h 1972"/>
                <a:gd name="T102" fmla="*/ 2147483647 w 1927"/>
                <a:gd name="T103" fmla="*/ 2147483647 h 1972"/>
                <a:gd name="T104" fmla="*/ 2147483647 w 1927"/>
                <a:gd name="T105" fmla="*/ 2147483647 h 1972"/>
                <a:gd name="T106" fmla="*/ 2147483647 w 1927"/>
                <a:gd name="T107" fmla="*/ 2147483647 h 1972"/>
                <a:gd name="T108" fmla="*/ 2147483647 w 1927"/>
                <a:gd name="T109" fmla="*/ 2147483647 h 1972"/>
                <a:gd name="T110" fmla="*/ 2147483647 w 1927"/>
                <a:gd name="T111" fmla="*/ 2147483647 h 1972"/>
                <a:gd name="T112" fmla="*/ 2147483647 w 1927"/>
                <a:gd name="T113" fmla="*/ 2147483647 h 1972"/>
                <a:gd name="T114" fmla="*/ 2147483647 w 1927"/>
                <a:gd name="T115" fmla="*/ 2147483647 h 1972"/>
                <a:gd name="T116" fmla="*/ 2147483647 w 1927"/>
                <a:gd name="T117" fmla="*/ 2147483647 h 1972"/>
                <a:gd name="T118" fmla="*/ 2147483647 w 1927"/>
                <a:gd name="T119" fmla="*/ 2147483647 h 1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27"/>
                <a:gd name="T181" fmla="*/ 0 h 1972"/>
                <a:gd name="T182" fmla="*/ 1927 w 1927"/>
                <a:gd name="T183" fmla="*/ 1972 h 1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27" h="1972">
                  <a:moveTo>
                    <a:pt x="1314" y="227"/>
                  </a:moveTo>
                  <a:lnTo>
                    <a:pt x="1304" y="227"/>
                  </a:lnTo>
                  <a:lnTo>
                    <a:pt x="1294" y="225"/>
                  </a:lnTo>
                  <a:lnTo>
                    <a:pt x="1284" y="222"/>
                  </a:lnTo>
                  <a:lnTo>
                    <a:pt x="1275" y="222"/>
                  </a:lnTo>
                  <a:lnTo>
                    <a:pt x="1265" y="224"/>
                  </a:lnTo>
                  <a:lnTo>
                    <a:pt x="1257" y="225"/>
                  </a:lnTo>
                  <a:lnTo>
                    <a:pt x="1243" y="229"/>
                  </a:lnTo>
                  <a:lnTo>
                    <a:pt x="1230" y="229"/>
                  </a:lnTo>
                  <a:lnTo>
                    <a:pt x="1217" y="225"/>
                  </a:lnTo>
                  <a:lnTo>
                    <a:pt x="1205" y="219"/>
                  </a:lnTo>
                  <a:lnTo>
                    <a:pt x="1186" y="212"/>
                  </a:lnTo>
                  <a:lnTo>
                    <a:pt x="1169" y="205"/>
                  </a:lnTo>
                  <a:lnTo>
                    <a:pt x="1151" y="198"/>
                  </a:lnTo>
                  <a:lnTo>
                    <a:pt x="1134" y="192"/>
                  </a:lnTo>
                  <a:lnTo>
                    <a:pt x="1122" y="188"/>
                  </a:lnTo>
                  <a:lnTo>
                    <a:pt x="1114" y="183"/>
                  </a:lnTo>
                  <a:lnTo>
                    <a:pt x="1109" y="180"/>
                  </a:lnTo>
                  <a:lnTo>
                    <a:pt x="1107" y="175"/>
                  </a:lnTo>
                  <a:lnTo>
                    <a:pt x="1107" y="170"/>
                  </a:lnTo>
                  <a:lnTo>
                    <a:pt x="1110" y="163"/>
                  </a:lnTo>
                  <a:lnTo>
                    <a:pt x="1116" y="158"/>
                  </a:lnTo>
                  <a:lnTo>
                    <a:pt x="1122" y="151"/>
                  </a:lnTo>
                  <a:lnTo>
                    <a:pt x="1137" y="139"/>
                  </a:lnTo>
                  <a:lnTo>
                    <a:pt x="1144" y="129"/>
                  </a:lnTo>
                  <a:lnTo>
                    <a:pt x="1144" y="126"/>
                  </a:lnTo>
                  <a:lnTo>
                    <a:pt x="1141" y="124"/>
                  </a:lnTo>
                  <a:lnTo>
                    <a:pt x="1134" y="123"/>
                  </a:lnTo>
                  <a:lnTo>
                    <a:pt x="1122" y="123"/>
                  </a:lnTo>
                  <a:lnTo>
                    <a:pt x="1114" y="123"/>
                  </a:lnTo>
                  <a:lnTo>
                    <a:pt x="1107" y="121"/>
                  </a:lnTo>
                  <a:lnTo>
                    <a:pt x="1102" y="119"/>
                  </a:lnTo>
                  <a:lnTo>
                    <a:pt x="1097" y="114"/>
                  </a:lnTo>
                  <a:lnTo>
                    <a:pt x="1095" y="109"/>
                  </a:lnTo>
                  <a:lnTo>
                    <a:pt x="1094" y="102"/>
                  </a:lnTo>
                  <a:lnTo>
                    <a:pt x="1095" y="92"/>
                  </a:lnTo>
                  <a:lnTo>
                    <a:pt x="1099" y="82"/>
                  </a:lnTo>
                  <a:lnTo>
                    <a:pt x="1102" y="69"/>
                  </a:lnTo>
                  <a:lnTo>
                    <a:pt x="1104" y="55"/>
                  </a:lnTo>
                  <a:lnTo>
                    <a:pt x="1102" y="45"/>
                  </a:lnTo>
                  <a:lnTo>
                    <a:pt x="1100" y="38"/>
                  </a:lnTo>
                  <a:lnTo>
                    <a:pt x="1095" y="32"/>
                  </a:lnTo>
                  <a:lnTo>
                    <a:pt x="1090" y="27"/>
                  </a:lnTo>
                  <a:lnTo>
                    <a:pt x="1082" y="23"/>
                  </a:lnTo>
                  <a:lnTo>
                    <a:pt x="1072" y="23"/>
                  </a:lnTo>
                  <a:lnTo>
                    <a:pt x="1058" y="20"/>
                  </a:lnTo>
                  <a:lnTo>
                    <a:pt x="1045" y="15"/>
                  </a:lnTo>
                  <a:lnTo>
                    <a:pt x="1031" y="8"/>
                  </a:lnTo>
                  <a:lnTo>
                    <a:pt x="1020" y="0"/>
                  </a:lnTo>
                  <a:lnTo>
                    <a:pt x="1020" y="1"/>
                  </a:lnTo>
                  <a:lnTo>
                    <a:pt x="1015" y="3"/>
                  </a:lnTo>
                  <a:lnTo>
                    <a:pt x="1011" y="5"/>
                  </a:lnTo>
                  <a:lnTo>
                    <a:pt x="1010" y="15"/>
                  </a:lnTo>
                  <a:lnTo>
                    <a:pt x="1008" y="25"/>
                  </a:lnTo>
                  <a:lnTo>
                    <a:pt x="1004" y="35"/>
                  </a:lnTo>
                  <a:lnTo>
                    <a:pt x="1003" y="45"/>
                  </a:lnTo>
                  <a:lnTo>
                    <a:pt x="999" y="54"/>
                  </a:lnTo>
                  <a:lnTo>
                    <a:pt x="996" y="59"/>
                  </a:lnTo>
                  <a:lnTo>
                    <a:pt x="991" y="64"/>
                  </a:lnTo>
                  <a:lnTo>
                    <a:pt x="986" y="67"/>
                  </a:lnTo>
                  <a:lnTo>
                    <a:pt x="981" y="69"/>
                  </a:lnTo>
                  <a:lnTo>
                    <a:pt x="976" y="69"/>
                  </a:lnTo>
                  <a:lnTo>
                    <a:pt x="969" y="67"/>
                  </a:lnTo>
                  <a:lnTo>
                    <a:pt x="964" y="69"/>
                  </a:lnTo>
                  <a:lnTo>
                    <a:pt x="961" y="74"/>
                  </a:lnTo>
                  <a:lnTo>
                    <a:pt x="957" y="79"/>
                  </a:lnTo>
                  <a:lnTo>
                    <a:pt x="956" y="87"/>
                  </a:lnTo>
                  <a:lnTo>
                    <a:pt x="956" y="97"/>
                  </a:lnTo>
                  <a:lnTo>
                    <a:pt x="956" y="111"/>
                  </a:lnTo>
                  <a:lnTo>
                    <a:pt x="959" y="126"/>
                  </a:lnTo>
                  <a:lnTo>
                    <a:pt x="962" y="133"/>
                  </a:lnTo>
                  <a:lnTo>
                    <a:pt x="964" y="139"/>
                  </a:lnTo>
                  <a:lnTo>
                    <a:pt x="964" y="145"/>
                  </a:lnTo>
                  <a:lnTo>
                    <a:pt x="962" y="150"/>
                  </a:lnTo>
                  <a:lnTo>
                    <a:pt x="959" y="155"/>
                  </a:lnTo>
                  <a:lnTo>
                    <a:pt x="954" y="160"/>
                  </a:lnTo>
                  <a:lnTo>
                    <a:pt x="947" y="165"/>
                  </a:lnTo>
                  <a:lnTo>
                    <a:pt x="939" y="168"/>
                  </a:lnTo>
                  <a:lnTo>
                    <a:pt x="919" y="171"/>
                  </a:lnTo>
                  <a:lnTo>
                    <a:pt x="900" y="178"/>
                  </a:lnTo>
                  <a:lnTo>
                    <a:pt x="883" y="185"/>
                  </a:lnTo>
                  <a:lnTo>
                    <a:pt x="870" y="195"/>
                  </a:lnTo>
                  <a:lnTo>
                    <a:pt x="861" y="198"/>
                  </a:lnTo>
                  <a:lnTo>
                    <a:pt x="855" y="198"/>
                  </a:lnTo>
                  <a:lnTo>
                    <a:pt x="848" y="195"/>
                  </a:lnTo>
                  <a:lnTo>
                    <a:pt x="843" y="188"/>
                  </a:lnTo>
                  <a:lnTo>
                    <a:pt x="839" y="183"/>
                  </a:lnTo>
                  <a:lnTo>
                    <a:pt x="838" y="180"/>
                  </a:lnTo>
                  <a:lnTo>
                    <a:pt x="834" y="180"/>
                  </a:lnTo>
                  <a:lnTo>
                    <a:pt x="829" y="182"/>
                  </a:lnTo>
                  <a:lnTo>
                    <a:pt x="826" y="185"/>
                  </a:lnTo>
                  <a:lnTo>
                    <a:pt x="821" y="190"/>
                  </a:lnTo>
                  <a:lnTo>
                    <a:pt x="814" y="198"/>
                  </a:lnTo>
                  <a:lnTo>
                    <a:pt x="808" y="207"/>
                  </a:lnTo>
                  <a:lnTo>
                    <a:pt x="809" y="227"/>
                  </a:lnTo>
                  <a:lnTo>
                    <a:pt x="811" y="249"/>
                  </a:lnTo>
                  <a:lnTo>
                    <a:pt x="796" y="271"/>
                  </a:lnTo>
                  <a:lnTo>
                    <a:pt x="781" y="294"/>
                  </a:lnTo>
                  <a:lnTo>
                    <a:pt x="774" y="305"/>
                  </a:lnTo>
                  <a:lnTo>
                    <a:pt x="765" y="313"/>
                  </a:lnTo>
                  <a:lnTo>
                    <a:pt x="757" y="320"/>
                  </a:lnTo>
                  <a:lnTo>
                    <a:pt x="747" y="325"/>
                  </a:lnTo>
                  <a:lnTo>
                    <a:pt x="727" y="338"/>
                  </a:lnTo>
                  <a:lnTo>
                    <a:pt x="713" y="348"/>
                  </a:lnTo>
                  <a:lnTo>
                    <a:pt x="727" y="362"/>
                  </a:lnTo>
                  <a:lnTo>
                    <a:pt x="733" y="374"/>
                  </a:lnTo>
                  <a:lnTo>
                    <a:pt x="735" y="379"/>
                  </a:lnTo>
                  <a:lnTo>
                    <a:pt x="737" y="384"/>
                  </a:lnTo>
                  <a:lnTo>
                    <a:pt x="735" y="389"/>
                  </a:lnTo>
                  <a:lnTo>
                    <a:pt x="733" y="392"/>
                  </a:lnTo>
                  <a:lnTo>
                    <a:pt x="727" y="399"/>
                  </a:lnTo>
                  <a:lnTo>
                    <a:pt x="718" y="406"/>
                  </a:lnTo>
                  <a:lnTo>
                    <a:pt x="705" y="409"/>
                  </a:lnTo>
                  <a:lnTo>
                    <a:pt x="691" y="414"/>
                  </a:lnTo>
                  <a:lnTo>
                    <a:pt x="691" y="412"/>
                  </a:lnTo>
                  <a:lnTo>
                    <a:pt x="690" y="412"/>
                  </a:lnTo>
                  <a:lnTo>
                    <a:pt x="690" y="414"/>
                  </a:lnTo>
                  <a:lnTo>
                    <a:pt x="690" y="417"/>
                  </a:lnTo>
                  <a:lnTo>
                    <a:pt x="675" y="427"/>
                  </a:lnTo>
                  <a:lnTo>
                    <a:pt x="661" y="434"/>
                  </a:lnTo>
                  <a:lnTo>
                    <a:pt x="648" y="438"/>
                  </a:lnTo>
                  <a:lnTo>
                    <a:pt x="634" y="439"/>
                  </a:lnTo>
                  <a:lnTo>
                    <a:pt x="629" y="444"/>
                  </a:lnTo>
                  <a:lnTo>
                    <a:pt x="626" y="449"/>
                  </a:lnTo>
                  <a:lnTo>
                    <a:pt x="624" y="454"/>
                  </a:lnTo>
                  <a:lnTo>
                    <a:pt x="624" y="458"/>
                  </a:lnTo>
                  <a:lnTo>
                    <a:pt x="626" y="461"/>
                  </a:lnTo>
                  <a:lnTo>
                    <a:pt x="629" y="465"/>
                  </a:lnTo>
                  <a:lnTo>
                    <a:pt x="636" y="468"/>
                  </a:lnTo>
                  <a:lnTo>
                    <a:pt x="643" y="470"/>
                  </a:lnTo>
                  <a:lnTo>
                    <a:pt x="653" y="473"/>
                  </a:lnTo>
                  <a:lnTo>
                    <a:pt x="663" y="476"/>
                  </a:lnTo>
                  <a:lnTo>
                    <a:pt x="671" y="478"/>
                  </a:lnTo>
                  <a:lnTo>
                    <a:pt x="676" y="480"/>
                  </a:lnTo>
                  <a:lnTo>
                    <a:pt x="678" y="483"/>
                  </a:lnTo>
                  <a:lnTo>
                    <a:pt x="678" y="485"/>
                  </a:lnTo>
                  <a:lnTo>
                    <a:pt x="676" y="486"/>
                  </a:lnTo>
                  <a:lnTo>
                    <a:pt x="671" y="490"/>
                  </a:lnTo>
                  <a:lnTo>
                    <a:pt x="663" y="493"/>
                  </a:lnTo>
                  <a:lnTo>
                    <a:pt x="653" y="495"/>
                  </a:lnTo>
                  <a:lnTo>
                    <a:pt x="643" y="495"/>
                  </a:lnTo>
                  <a:lnTo>
                    <a:pt x="631" y="495"/>
                  </a:lnTo>
                  <a:lnTo>
                    <a:pt x="621" y="497"/>
                  </a:lnTo>
                  <a:lnTo>
                    <a:pt x="609" y="502"/>
                  </a:lnTo>
                  <a:lnTo>
                    <a:pt x="599" y="505"/>
                  </a:lnTo>
                  <a:lnTo>
                    <a:pt x="589" y="508"/>
                  </a:lnTo>
                  <a:lnTo>
                    <a:pt x="568" y="510"/>
                  </a:lnTo>
                  <a:lnTo>
                    <a:pt x="548" y="512"/>
                  </a:lnTo>
                  <a:lnTo>
                    <a:pt x="542" y="512"/>
                  </a:lnTo>
                  <a:lnTo>
                    <a:pt x="536" y="513"/>
                  </a:lnTo>
                  <a:lnTo>
                    <a:pt x="530" y="515"/>
                  </a:lnTo>
                  <a:lnTo>
                    <a:pt x="523" y="520"/>
                  </a:lnTo>
                  <a:lnTo>
                    <a:pt x="506" y="532"/>
                  </a:lnTo>
                  <a:lnTo>
                    <a:pt x="488" y="544"/>
                  </a:lnTo>
                  <a:lnTo>
                    <a:pt x="469" y="555"/>
                  </a:lnTo>
                  <a:lnTo>
                    <a:pt x="452" y="566"/>
                  </a:lnTo>
                  <a:lnTo>
                    <a:pt x="456" y="577"/>
                  </a:lnTo>
                  <a:lnTo>
                    <a:pt x="457" y="587"/>
                  </a:lnTo>
                  <a:lnTo>
                    <a:pt x="457" y="596"/>
                  </a:lnTo>
                  <a:lnTo>
                    <a:pt x="456" y="604"/>
                  </a:lnTo>
                  <a:lnTo>
                    <a:pt x="454" y="611"/>
                  </a:lnTo>
                  <a:lnTo>
                    <a:pt x="451" y="618"/>
                  </a:lnTo>
                  <a:lnTo>
                    <a:pt x="447" y="623"/>
                  </a:lnTo>
                  <a:lnTo>
                    <a:pt x="442" y="628"/>
                  </a:lnTo>
                  <a:lnTo>
                    <a:pt x="432" y="636"/>
                  </a:lnTo>
                  <a:lnTo>
                    <a:pt x="419" y="645"/>
                  </a:lnTo>
                  <a:lnTo>
                    <a:pt x="405" y="650"/>
                  </a:lnTo>
                  <a:lnTo>
                    <a:pt x="390" y="656"/>
                  </a:lnTo>
                  <a:lnTo>
                    <a:pt x="382" y="658"/>
                  </a:lnTo>
                  <a:lnTo>
                    <a:pt x="373" y="662"/>
                  </a:lnTo>
                  <a:lnTo>
                    <a:pt x="366" y="667"/>
                  </a:lnTo>
                  <a:lnTo>
                    <a:pt x="358" y="672"/>
                  </a:lnTo>
                  <a:lnTo>
                    <a:pt x="346" y="682"/>
                  </a:lnTo>
                  <a:lnTo>
                    <a:pt x="335" y="695"/>
                  </a:lnTo>
                  <a:lnTo>
                    <a:pt x="328" y="700"/>
                  </a:lnTo>
                  <a:lnTo>
                    <a:pt x="321" y="705"/>
                  </a:lnTo>
                  <a:lnTo>
                    <a:pt x="313" y="709"/>
                  </a:lnTo>
                  <a:lnTo>
                    <a:pt x="306" y="710"/>
                  </a:lnTo>
                  <a:lnTo>
                    <a:pt x="289" y="710"/>
                  </a:lnTo>
                  <a:lnTo>
                    <a:pt x="274" y="709"/>
                  </a:lnTo>
                  <a:lnTo>
                    <a:pt x="262" y="707"/>
                  </a:lnTo>
                  <a:lnTo>
                    <a:pt x="254" y="705"/>
                  </a:lnTo>
                  <a:lnTo>
                    <a:pt x="245" y="707"/>
                  </a:lnTo>
                  <a:lnTo>
                    <a:pt x="240" y="709"/>
                  </a:lnTo>
                  <a:lnTo>
                    <a:pt x="234" y="712"/>
                  </a:lnTo>
                  <a:lnTo>
                    <a:pt x="230" y="717"/>
                  </a:lnTo>
                  <a:lnTo>
                    <a:pt x="225" y="722"/>
                  </a:lnTo>
                  <a:lnTo>
                    <a:pt x="222" y="729"/>
                  </a:lnTo>
                  <a:lnTo>
                    <a:pt x="217" y="739"/>
                  </a:lnTo>
                  <a:lnTo>
                    <a:pt x="212" y="744"/>
                  </a:lnTo>
                  <a:lnTo>
                    <a:pt x="205" y="747"/>
                  </a:lnTo>
                  <a:lnTo>
                    <a:pt x="200" y="747"/>
                  </a:lnTo>
                  <a:lnTo>
                    <a:pt x="195" y="746"/>
                  </a:lnTo>
                  <a:lnTo>
                    <a:pt x="188" y="741"/>
                  </a:lnTo>
                  <a:lnTo>
                    <a:pt x="183" y="736"/>
                  </a:lnTo>
                  <a:lnTo>
                    <a:pt x="178" y="729"/>
                  </a:lnTo>
                  <a:lnTo>
                    <a:pt x="164" y="719"/>
                  </a:lnTo>
                  <a:lnTo>
                    <a:pt x="154" y="712"/>
                  </a:lnTo>
                  <a:lnTo>
                    <a:pt x="149" y="710"/>
                  </a:lnTo>
                  <a:lnTo>
                    <a:pt x="144" y="710"/>
                  </a:lnTo>
                  <a:lnTo>
                    <a:pt x="141" y="710"/>
                  </a:lnTo>
                  <a:lnTo>
                    <a:pt x="138" y="712"/>
                  </a:lnTo>
                  <a:lnTo>
                    <a:pt x="129" y="717"/>
                  </a:lnTo>
                  <a:lnTo>
                    <a:pt x="124" y="726"/>
                  </a:lnTo>
                  <a:lnTo>
                    <a:pt x="119" y="736"/>
                  </a:lnTo>
                  <a:lnTo>
                    <a:pt x="114" y="749"/>
                  </a:lnTo>
                  <a:lnTo>
                    <a:pt x="106" y="776"/>
                  </a:lnTo>
                  <a:lnTo>
                    <a:pt x="95" y="803"/>
                  </a:lnTo>
                  <a:lnTo>
                    <a:pt x="87" y="830"/>
                  </a:lnTo>
                  <a:lnTo>
                    <a:pt x="77" y="857"/>
                  </a:lnTo>
                  <a:lnTo>
                    <a:pt x="72" y="870"/>
                  </a:lnTo>
                  <a:lnTo>
                    <a:pt x="65" y="882"/>
                  </a:lnTo>
                  <a:lnTo>
                    <a:pt x="60" y="886"/>
                  </a:lnTo>
                  <a:lnTo>
                    <a:pt x="55" y="889"/>
                  </a:lnTo>
                  <a:lnTo>
                    <a:pt x="48" y="891"/>
                  </a:lnTo>
                  <a:lnTo>
                    <a:pt x="42" y="892"/>
                  </a:lnTo>
                  <a:lnTo>
                    <a:pt x="26" y="897"/>
                  </a:lnTo>
                  <a:lnTo>
                    <a:pt x="16" y="902"/>
                  </a:lnTo>
                  <a:lnTo>
                    <a:pt x="11" y="907"/>
                  </a:lnTo>
                  <a:lnTo>
                    <a:pt x="8" y="911"/>
                  </a:lnTo>
                  <a:lnTo>
                    <a:pt x="8" y="914"/>
                  </a:lnTo>
                  <a:lnTo>
                    <a:pt x="11" y="918"/>
                  </a:lnTo>
                  <a:lnTo>
                    <a:pt x="18" y="919"/>
                  </a:lnTo>
                  <a:lnTo>
                    <a:pt x="30" y="921"/>
                  </a:lnTo>
                  <a:lnTo>
                    <a:pt x="38" y="924"/>
                  </a:lnTo>
                  <a:lnTo>
                    <a:pt x="47" y="929"/>
                  </a:lnTo>
                  <a:lnTo>
                    <a:pt x="53" y="934"/>
                  </a:lnTo>
                  <a:lnTo>
                    <a:pt x="57" y="939"/>
                  </a:lnTo>
                  <a:lnTo>
                    <a:pt x="58" y="948"/>
                  </a:lnTo>
                  <a:lnTo>
                    <a:pt x="58" y="956"/>
                  </a:lnTo>
                  <a:lnTo>
                    <a:pt x="55" y="968"/>
                  </a:lnTo>
                  <a:lnTo>
                    <a:pt x="50" y="980"/>
                  </a:lnTo>
                  <a:lnTo>
                    <a:pt x="43" y="997"/>
                  </a:lnTo>
                  <a:lnTo>
                    <a:pt x="35" y="1010"/>
                  </a:lnTo>
                  <a:lnTo>
                    <a:pt x="32" y="1015"/>
                  </a:lnTo>
                  <a:lnTo>
                    <a:pt x="26" y="1020"/>
                  </a:lnTo>
                  <a:lnTo>
                    <a:pt x="21" y="1025"/>
                  </a:lnTo>
                  <a:lnTo>
                    <a:pt x="16" y="1027"/>
                  </a:lnTo>
                  <a:lnTo>
                    <a:pt x="11" y="1029"/>
                  </a:lnTo>
                  <a:lnTo>
                    <a:pt x="6" y="1034"/>
                  </a:lnTo>
                  <a:lnTo>
                    <a:pt x="5" y="1040"/>
                  </a:lnTo>
                  <a:lnTo>
                    <a:pt x="3" y="1051"/>
                  </a:lnTo>
                  <a:lnTo>
                    <a:pt x="0" y="1056"/>
                  </a:lnTo>
                  <a:lnTo>
                    <a:pt x="0" y="1061"/>
                  </a:lnTo>
                  <a:lnTo>
                    <a:pt x="0" y="1064"/>
                  </a:lnTo>
                  <a:lnTo>
                    <a:pt x="0" y="1067"/>
                  </a:lnTo>
                  <a:lnTo>
                    <a:pt x="3" y="1067"/>
                  </a:lnTo>
                  <a:lnTo>
                    <a:pt x="6" y="1067"/>
                  </a:lnTo>
                  <a:lnTo>
                    <a:pt x="10" y="1066"/>
                  </a:lnTo>
                  <a:lnTo>
                    <a:pt x="16" y="1064"/>
                  </a:lnTo>
                  <a:lnTo>
                    <a:pt x="23" y="1061"/>
                  </a:lnTo>
                  <a:lnTo>
                    <a:pt x="28" y="1059"/>
                  </a:lnTo>
                  <a:lnTo>
                    <a:pt x="33" y="1059"/>
                  </a:lnTo>
                  <a:lnTo>
                    <a:pt x="37" y="1062"/>
                  </a:lnTo>
                  <a:lnTo>
                    <a:pt x="40" y="1067"/>
                  </a:lnTo>
                  <a:lnTo>
                    <a:pt x="40" y="1072"/>
                  </a:lnTo>
                  <a:lnTo>
                    <a:pt x="38" y="1079"/>
                  </a:lnTo>
                  <a:lnTo>
                    <a:pt x="37" y="1086"/>
                  </a:lnTo>
                  <a:lnTo>
                    <a:pt x="26" y="1103"/>
                  </a:lnTo>
                  <a:lnTo>
                    <a:pt x="18" y="1120"/>
                  </a:lnTo>
                  <a:lnTo>
                    <a:pt x="10" y="1135"/>
                  </a:lnTo>
                  <a:lnTo>
                    <a:pt x="0" y="1148"/>
                  </a:lnTo>
                  <a:lnTo>
                    <a:pt x="5" y="1165"/>
                  </a:lnTo>
                  <a:lnTo>
                    <a:pt x="6" y="1173"/>
                  </a:lnTo>
                  <a:lnTo>
                    <a:pt x="6" y="1184"/>
                  </a:lnTo>
                  <a:lnTo>
                    <a:pt x="5" y="1199"/>
                  </a:lnTo>
                  <a:lnTo>
                    <a:pt x="6" y="1202"/>
                  </a:lnTo>
                  <a:lnTo>
                    <a:pt x="11" y="1204"/>
                  </a:lnTo>
                  <a:lnTo>
                    <a:pt x="16" y="1205"/>
                  </a:lnTo>
                  <a:lnTo>
                    <a:pt x="23" y="1204"/>
                  </a:lnTo>
                  <a:lnTo>
                    <a:pt x="28" y="1204"/>
                  </a:lnTo>
                  <a:lnTo>
                    <a:pt x="33" y="1204"/>
                  </a:lnTo>
                  <a:lnTo>
                    <a:pt x="37" y="1205"/>
                  </a:lnTo>
                  <a:lnTo>
                    <a:pt x="42" y="1209"/>
                  </a:lnTo>
                  <a:lnTo>
                    <a:pt x="45" y="1214"/>
                  </a:lnTo>
                  <a:lnTo>
                    <a:pt x="48" y="1221"/>
                  </a:lnTo>
                  <a:lnTo>
                    <a:pt x="52" y="1231"/>
                  </a:lnTo>
                  <a:lnTo>
                    <a:pt x="55" y="1246"/>
                  </a:lnTo>
                  <a:lnTo>
                    <a:pt x="55" y="1253"/>
                  </a:lnTo>
                  <a:lnTo>
                    <a:pt x="58" y="1259"/>
                  </a:lnTo>
                  <a:lnTo>
                    <a:pt x="62" y="1263"/>
                  </a:lnTo>
                  <a:lnTo>
                    <a:pt x="67" y="1266"/>
                  </a:lnTo>
                  <a:lnTo>
                    <a:pt x="74" y="1266"/>
                  </a:lnTo>
                  <a:lnTo>
                    <a:pt x="82" y="1266"/>
                  </a:lnTo>
                  <a:lnTo>
                    <a:pt x="90" y="1263"/>
                  </a:lnTo>
                  <a:lnTo>
                    <a:pt x="101" y="1258"/>
                  </a:lnTo>
                  <a:lnTo>
                    <a:pt x="107" y="1254"/>
                  </a:lnTo>
                  <a:lnTo>
                    <a:pt x="114" y="1251"/>
                  </a:lnTo>
                  <a:lnTo>
                    <a:pt x="121" y="1251"/>
                  </a:lnTo>
                  <a:lnTo>
                    <a:pt x="127" y="1251"/>
                  </a:lnTo>
                  <a:lnTo>
                    <a:pt x="136" y="1251"/>
                  </a:lnTo>
                  <a:lnTo>
                    <a:pt x="144" y="1254"/>
                  </a:lnTo>
                  <a:lnTo>
                    <a:pt x="153" y="1259"/>
                  </a:lnTo>
                  <a:lnTo>
                    <a:pt x="163" y="1266"/>
                  </a:lnTo>
                  <a:lnTo>
                    <a:pt x="173" y="1269"/>
                  </a:lnTo>
                  <a:lnTo>
                    <a:pt x="183" y="1273"/>
                  </a:lnTo>
                  <a:lnTo>
                    <a:pt x="191" y="1273"/>
                  </a:lnTo>
                  <a:lnTo>
                    <a:pt x="200" y="1273"/>
                  </a:lnTo>
                  <a:lnTo>
                    <a:pt x="208" y="1271"/>
                  </a:lnTo>
                  <a:lnTo>
                    <a:pt x="215" y="1269"/>
                  </a:lnTo>
                  <a:lnTo>
                    <a:pt x="222" y="1266"/>
                  </a:lnTo>
                  <a:lnTo>
                    <a:pt x="228" y="1263"/>
                  </a:lnTo>
                  <a:lnTo>
                    <a:pt x="239" y="1251"/>
                  </a:lnTo>
                  <a:lnTo>
                    <a:pt x="247" y="1246"/>
                  </a:lnTo>
                  <a:lnTo>
                    <a:pt x="250" y="1246"/>
                  </a:lnTo>
                  <a:lnTo>
                    <a:pt x="254" y="1249"/>
                  </a:lnTo>
                  <a:lnTo>
                    <a:pt x="257" y="1254"/>
                  </a:lnTo>
                  <a:lnTo>
                    <a:pt x="260" y="1263"/>
                  </a:lnTo>
                  <a:lnTo>
                    <a:pt x="271" y="1273"/>
                  </a:lnTo>
                  <a:lnTo>
                    <a:pt x="279" y="1283"/>
                  </a:lnTo>
                  <a:lnTo>
                    <a:pt x="291" y="1298"/>
                  </a:lnTo>
                  <a:lnTo>
                    <a:pt x="303" y="1313"/>
                  </a:lnTo>
                  <a:lnTo>
                    <a:pt x="311" y="1322"/>
                  </a:lnTo>
                  <a:lnTo>
                    <a:pt x="321" y="1332"/>
                  </a:lnTo>
                  <a:lnTo>
                    <a:pt x="331" y="1339"/>
                  </a:lnTo>
                  <a:lnTo>
                    <a:pt x="341" y="1344"/>
                  </a:lnTo>
                  <a:lnTo>
                    <a:pt x="355" y="1347"/>
                  </a:lnTo>
                  <a:lnTo>
                    <a:pt x="368" y="1349"/>
                  </a:lnTo>
                  <a:lnTo>
                    <a:pt x="383" y="1347"/>
                  </a:lnTo>
                  <a:lnTo>
                    <a:pt x="400" y="1342"/>
                  </a:lnTo>
                  <a:lnTo>
                    <a:pt x="407" y="1339"/>
                  </a:lnTo>
                  <a:lnTo>
                    <a:pt x="412" y="1335"/>
                  </a:lnTo>
                  <a:lnTo>
                    <a:pt x="417" y="1335"/>
                  </a:lnTo>
                  <a:lnTo>
                    <a:pt x="422" y="1337"/>
                  </a:lnTo>
                  <a:lnTo>
                    <a:pt x="427" y="1340"/>
                  </a:lnTo>
                  <a:lnTo>
                    <a:pt x="432" y="1345"/>
                  </a:lnTo>
                  <a:lnTo>
                    <a:pt x="437" y="1350"/>
                  </a:lnTo>
                  <a:lnTo>
                    <a:pt x="442" y="1359"/>
                  </a:lnTo>
                  <a:lnTo>
                    <a:pt x="454" y="1365"/>
                  </a:lnTo>
                  <a:lnTo>
                    <a:pt x="464" y="1372"/>
                  </a:lnTo>
                  <a:lnTo>
                    <a:pt x="467" y="1377"/>
                  </a:lnTo>
                  <a:lnTo>
                    <a:pt x="471" y="1382"/>
                  </a:lnTo>
                  <a:lnTo>
                    <a:pt x="471" y="1387"/>
                  </a:lnTo>
                  <a:lnTo>
                    <a:pt x="471" y="1396"/>
                  </a:lnTo>
                  <a:lnTo>
                    <a:pt x="473" y="1408"/>
                  </a:lnTo>
                  <a:lnTo>
                    <a:pt x="476" y="1421"/>
                  </a:lnTo>
                  <a:lnTo>
                    <a:pt x="479" y="1426"/>
                  </a:lnTo>
                  <a:lnTo>
                    <a:pt x="488" y="1433"/>
                  </a:lnTo>
                  <a:lnTo>
                    <a:pt x="499" y="1440"/>
                  </a:lnTo>
                  <a:lnTo>
                    <a:pt x="518" y="1446"/>
                  </a:lnTo>
                  <a:lnTo>
                    <a:pt x="530" y="1448"/>
                  </a:lnTo>
                  <a:lnTo>
                    <a:pt x="540" y="1451"/>
                  </a:lnTo>
                  <a:lnTo>
                    <a:pt x="545" y="1453"/>
                  </a:lnTo>
                  <a:lnTo>
                    <a:pt x="547" y="1455"/>
                  </a:lnTo>
                  <a:lnTo>
                    <a:pt x="550" y="1458"/>
                  </a:lnTo>
                  <a:lnTo>
                    <a:pt x="552" y="1463"/>
                  </a:lnTo>
                  <a:lnTo>
                    <a:pt x="563" y="1475"/>
                  </a:lnTo>
                  <a:lnTo>
                    <a:pt x="570" y="1483"/>
                  </a:lnTo>
                  <a:lnTo>
                    <a:pt x="574" y="1490"/>
                  </a:lnTo>
                  <a:lnTo>
                    <a:pt x="575" y="1495"/>
                  </a:lnTo>
                  <a:lnTo>
                    <a:pt x="577" y="1514"/>
                  </a:lnTo>
                  <a:lnTo>
                    <a:pt x="579" y="1532"/>
                  </a:lnTo>
                  <a:lnTo>
                    <a:pt x="575" y="1541"/>
                  </a:lnTo>
                  <a:lnTo>
                    <a:pt x="572" y="1547"/>
                  </a:lnTo>
                  <a:lnTo>
                    <a:pt x="565" y="1552"/>
                  </a:lnTo>
                  <a:lnTo>
                    <a:pt x="557" y="1556"/>
                  </a:lnTo>
                  <a:lnTo>
                    <a:pt x="548" y="1559"/>
                  </a:lnTo>
                  <a:lnTo>
                    <a:pt x="540" y="1564"/>
                  </a:lnTo>
                  <a:lnTo>
                    <a:pt x="533" y="1571"/>
                  </a:lnTo>
                  <a:lnTo>
                    <a:pt x="525" y="1578"/>
                  </a:lnTo>
                  <a:lnTo>
                    <a:pt x="511" y="1596"/>
                  </a:lnTo>
                  <a:lnTo>
                    <a:pt x="499" y="1615"/>
                  </a:lnTo>
                  <a:lnTo>
                    <a:pt x="484" y="1635"/>
                  </a:lnTo>
                  <a:lnTo>
                    <a:pt x="469" y="1653"/>
                  </a:lnTo>
                  <a:lnTo>
                    <a:pt x="454" y="1674"/>
                  </a:lnTo>
                  <a:lnTo>
                    <a:pt x="441" y="1692"/>
                  </a:lnTo>
                  <a:lnTo>
                    <a:pt x="434" y="1697"/>
                  </a:lnTo>
                  <a:lnTo>
                    <a:pt x="429" y="1702"/>
                  </a:lnTo>
                  <a:lnTo>
                    <a:pt x="425" y="1707"/>
                  </a:lnTo>
                  <a:lnTo>
                    <a:pt x="424" y="1712"/>
                  </a:lnTo>
                  <a:lnTo>
                    <a:pt x="425" y="1717"/>
                  </a:lnTo>
                  <a:lnTo>
                    <a:pt x="427" y="1724"/>
                  </a:lnTo>
                  <a:lnTo>
                    <a:pt x="432" y="1729"/>
                  </a:lnTo>
                  <a:lnTo>
                    <a:pt x="442" y="1734"/>
                  </a:lnTo>
                  <a:lnTo>
                    <a:pt x="451" y="1744"/>
                  </a:lnTo>
                  <a:lnTo>
                    <a:pt x="462" y="1753"/>
                  </a:lnTo>
                  <a:lnTo>
                    <a:pt x="469" y="1756"/>
                  </a:lnTo>
                  <a:lnTo>
                    <a:pt x="478" y="1760"/>
                  </a:lnTo>
                  <a:lnTo>
                    <a:pt x="488" y="1763"/>
                  </a:lnTo>
                  <a:lnTo>
                    <a:pt x="498" y="1765"/>
                  </a:lnTo>
                  <a:lnTo>
                    <a:pt x="510" y="1761"/>
                  </a:lnTo>
                  <a:lnTo>
                    <a:pt x="518" y="1761"/>
                  </a:lnTo>
                  <a:lnTo>
                    <a:pt x="526" y="1761"/>
                  </a:lnTo>
                  <a:lnTo>
                    <a:pt x="535" y="1763"/>
                  </a:lnTo>
                  <a:lnTo>
                    <a:pt x="542" y="1766"/>
                  </a:lnTo>
                  <a:lnTo>
                    <a:pt x="547" y="1770"/>
                  </a:lnTo>
                  <a:lnTo>
                    <a:pt x="552" y="1775"/>
                  </a:lnTo>
                  <a:lnTo>
                    <a:pt x="555" y="1781"/>
                  </a:lnTo>
                  <a:lnTo>
                    <a:pt x="563" y="1786"/>
                  </a:lnTo>
                  <a:lnTo>
                    <a:pt x="575" y="1795"/>
                  </a:lnTo>
                  <a:lnTo>
                    <a:pt x="587" y="1807"/>
                  </a:lnTo>
                  <a:lnTo>
                    <a:pt x="599" y="1818"/>
                  </a:lnTo>
                  <a:lnTo>
                    <a:pt x="609" y="1830"/>
                  </a:lnTo>
                  <a:lnTo>
                    <a:pt x="619" y="1839"/>
                  </a:lnTo>
                  <a:lnTo>
                    <a:pt x="624" y="1842"/>
                  </a:lnTo>
                  <a:lnTo>
                    <a:pt x="627" y="1845"/>
                  </a:lnTo>
                  <a:lnTo>
                    <a:pt x="631" y="1845"/>
                  </a:lnTo>
                  <a:lnTo>
                    <a:pt x="634" y="1845"/>
                  </a:lnTo>
                  <a:lnTo>
                    <a:pt x="643" y="1845"/>
                  </a:lnTo>
                  <a:lnTo>
                    <a:pt x="649" y="1847"/>
                  </a:lnTo>
                  <a:lnTo>
                    <a:pt x="656" y="1850"/>
                  </a:lnTo>
                  <a:lnTo>
                    <a:pt x="659" y="1856"/>
                  </a:lnTo>
                  <a:lnTo>
                    <a:pt x="663" y="1861"/>
                  </a:lnTo>
                  <a:lnTo>
                    <a:pt x="664" y="1869"/>
                  </a:lnTo>
                  <a:lnTo>
                    <a:pt x="666" y="1877"/>
                  </a:lnTo>
                  <a:lnTo>
                    <a:pt x="664" y="1888"/>
                  </a:lnTo>
                  <a:lnTo>
                    <a:pt x="666" y="1903"/>
                  </a:lnTo>
                  <a:lnTo>
                    <a:pt x="669" y="1918"/>
                  </a:lnTo>
                  <a:lnTo>
                    <a:pt x="671" y="1925"/>
                  </a:lnTo>
                  <a:lnTo>
                    <a:pt x="675" y="1930"/>
                  </a:lnTo>
                  <a:lnTo>
                    <a:pt x="678" y="1936"/>
                  </a:lnTo>
                  <a:lnTo>
                    <a:pt x="683" y="1941"/>
                  </a:lnTo>
                  <a:lnTo>
                    <a:pt x="685" y="1950"/>
                  </a:lnTo>
                  <a:lnTo>
                    <a:pt x="688" y="1957"/>
                  </a:lnTo>
                  <a:lnTo>
                    <a:pt x="693" y="1962"/>
                  </a:lnTo>
                  <a:lnTo>
                    <a:pt x="701" y="1967"/>
                  </a:lnTo>
                  <a:lnTo>
                    <a:pt x="712" y="1970"/>
                  </a:lnTo>
                  <a:lnTo>
                    <a:pt x="727" y="1972"/>
                  </a:lnTo>
                  <a:lnTo>
                    <a:pt x="745" y="1970"/>
                  </a:lnTo>
                  <a:lnTo>
                    <a:pt x="767" y="1967"/>
                  </a:lnTo>
                  <a:lnTo>
                    <a:pt x="781" y="1968"/>
                  </a:lnTo>
                  <a:lnTo>
                    <a:pt x="794" y="1968"/>
                  </a:lnTo>
                  <a:lnTo>
                    <a:pt x="801" y="1967"/>
                  </a:lnTo>
                  <a:lnTo>
                    <a:pt x="808" y="1965"/>
                  </a:lnTo>
                  <a:lnTo>
                    <a:pt x="814" y="1963"/>
                  </a:lnTo>
                  <a:lnTo>
                    <a:pt x="823" y="1958"/>
                  </a:lnTo>
                  <a:lnTo>
                    <a:pt x="831" y="1953"/>
                  </a:lnTo>
                  <a:lnTo>
                    <a:pt x="839" y="1950"/>
                  </a:lnTo>
                  <a:lnTo>
                    <a:pt x="850" y="1948"/>
                  </a:lnTo>
                  <a:lnTo>
                    <a:pt x="858" y="1946"/>
                  </a:lnTo>
                  <a:lnTo>
                    <a:pt x="878" y="1920"/>
                  </a:lnTo>
                  <a:lnTo>
                    <a:pt x="898" y="1894"/>
                  </a:lnTo>
                  <a:lnTo>
                    <a:pt x="910" y="1882"/>
                  </a:lnTo>
                  <a:lnTo>
                    <a:pt x="920" y="1872"/>
                  </a:lnTo>
                  <a:lnTo>
                    <a:pt x="932" y="1864"/>
                  </a:lnTo>
                  <a:lnTo>
                    <a:pt x="942" y="1856"/>
                  </a:lnTo>
                  <a:lnTo>
                    <a:pt x="951" y="1847"/>
                  </a:lnTo>
                  <a:lnTo>
                    <a:pt x="959" y="1842"/>
                  </a:lnTo>
                  <a:lnTo>
                    <a:pt x="962" y="1840"/>
                  </a:lnTo>
                  <a:lnTo>
                    <a:pt x="966" y="1839"/>
                  </a:lnTo>
                  <a:lnTo>
                    <a:pt x="971" y="1840"/>
                  </a:lnTo>
                  <a:lnTo>
                    <a:pt x="974" y="1840"/>
                  </a:lnTo>
                  <a:lnTo>
                    <a:pt x="981" y="1840"/>
                  </a:lnTo>
                  <a:lnTo>
                    <a:pt x="986" y="1837"/>
                  </a:lnTo>
                  <a:lnTo>
                    <a:pt x="989" y="1834"/>
                  </a:lnTo>
                  <a:lnTo>
                    <a:pt x="993" y="1829"/>
                  </a:lnTo>
                  <a:lnTo>
                    <a:pt x="994" y="1820"/>
                  </a:lnTo>
                  <a:lnTo>
                    <a:pt x="998" y="1815"/>
                  </a:lnTo>
                  <a:lnTo>
                    <a:pt x="999" y="1812"/>
                  </a:lnTo>
                  <a:lnTo>
                    <a:pt x="1003" y="1812"/>
                  </a:lnTo>
                  <a:lnTo>
                    <a:pt x="1008" y="1813"/>
                  </a:lnTo>
                  <a:lnTo>
                    <a:pt x="1015" y="1820"/>
                  </a:lnTo>
                  <a:lnTo>
                    <a:pt x="1028" y="1820"/>
                  </a:lnTo>
                  <a:lnTo>
                    <a:pt x="1040" y="1820"/>
                  </a:lnTo>
                  <a:lnTo>
                    <a:pt x="1053" y="1820"/>
                  </a:lnTo>
                  <a:lnTo>
                    <a:pt x="1065" y="1820"/>
                  </a:lnTo>
                  <a:lnTo>
                    <a:pt x="1072" y="1820"/>
                  </a:lnTo>
                  <a:lnTo>
                    <a:pt x="1077" y="1818"/>
                  </a:lnTo>
                  <a:lnTo>
                    <a:pt x="1080" y="1815"/>
                  </a:lnTo>
                  <a:lnTo>
                    <a:pt x="1082" y="1813"/>
                  </a:lnTo>
                  <a:lnTo>
                    <a:pt x="1084" y="1810"/>
                  </a:lnTo>
                  <a:lnTo>
                    <a:pt x="1084" y="1805"/>
                  </a:lnTo>
                  <a:lnTo>
                    <a:pt x="1082" y="1800"/>
                  </a:lnTo>
                  <a:lnTo>
                    <a:pt x="1080" y="1795"/>
                  </a:lnTo>
                  <a:lnTo>
                    <a:pt x="1075" y="1788"/>
                  </a:lnTo>
                  <a:lnTo>
                    <a:pt x="1073" y="1783"/>
                  </a:lnTo>
                  <a:lnTo>
                    <a:pt x="1075" y="1778"/>
                  </a:lnTo>
                  <a:lnTo>
                    <a:pt x="1079" y="1775"/>
                  </a:lnTo>
                  <a:lnTo>
                    <a:pt x="1084" y="1766"/>
                  </a:lnTo>
                  <a:lnTo>
                    <a:pt x="1085" y="1756"/>
                  </a:lnTo>
                  <a:lnTo>
                    <a:pt x="1085" y="1746"/>
                  </a:lnTo>
                  <a:lnTo>
                    <a:pt x="1085" y="1734"/>
                  </a:lnTo>
                  <a:lnTo>
                    <a:pt x="1084" y="1731"/>
                  </a:lnTo>
                  <a:lnTo>
                    <a:pt x="1084" y="1728"/>
                  </a:lnTo>
                  <a:lnTo>
                    <a:pt x="1084" y="1724"/>
                  </a:lnTo>
                  <a:lnTo>
                    <a:pt x="1085" y="1722"/>
                  </a:lnTo>
                  <a:lnTo>
                    <a:pt x="1089" y="1721"/>
                  </a:lnTo>
                  <a:lnTo>
                    <a:pt x="1092" y="1721"/>
                  </a:lnTo>
                  <a:lnTo>
                    <a:pt x="1095" y="1722"/>
                  </a:lnTo>
                  <a:lnTo>
                    <a:pt x="1099" y="1726"/>
                  </a:lnTo>
                  <a:lnTo>
                    <a:pt x="1107" y="1726"/>
                  </a:lnTo>
                  <a:lnTo>
                    <a:pt x="1112" y="1726"/>
                  </a:lnTo>
                  <a:lnTo>
                    <a:pt x="1116" y="1724"/>
                  </a:lnTo>
                  <a:lnTo>
                    <a:pt x="1116" y="1722"/>
                  </a:lnTo>
                  <a:lnTo>
                    <a:pt x="1116" y="1719"/>
                  </a:lnTo>
                  <a:lnTo>
                    <a:pt x="1112" y="1714"/>
                  </a:lnTo>
                  <a:lnTo>
                    <a:pt x="1109" y="1711"/>
                  </a:lnTo>
                  <a:lnTo>
                    <a:pt x="1107" y="1707"/>
                  </a:lnTo>
                  <a:lnTo>
                    <a:pt x="1107" y="1704"/>
                  </a:lnTo>
                  <a:lnTo>
                    <a:pt x="1107" y="1702"/>
                  </a:lnTo>
                  <a:lnTo>
                    <a:pt x="1112" y="1699"/>
                  </a:lnTo>
                  <a:lnTo>
                    <a:pt x="1122" y="1699"/>
                  </a:lnTo>
                  <a:lnTo>
                    <a:pt x="1129" y="1696"/>
                  </a:lnTo>
                  <a:lnTo>
                    <a:pt x="1136" y="1692"/>
                  </a:lnTo>
                  <a:lnTo>
                    <a:pt x="1139" y="1682"/>
                  </a:lnTo>
                  <a:lnTo>
                    <a:pt x="1141" y="1680"/>
                  </a:lnTo>
                  <a:lnTo>
                    <a:pt x="1144" y="1682"/>
                  </a:lnTo>
                  <a:lnTo>
                    <a:pt x="1148" y="1690"/>
                  </a:lnTo>
                  <a:lnTo>
                    <a:pt x="1153" y="1701"/>
                  </a:lnTo>
                  <a:lnTo>
                    <a:pt x="1156" y="1706"/>
                  </a:lnTo>
                  <a:lnTo>
                    <a:pt x="1159" y="1704"/>
                  </a:lnTo>
                  <a:lnTo>
                    <a:pt x="1161" y="1696"/>
                  </a:lnTo>
                  <a:lnTo>
                    <a:pt x="1161" y="1687"/>
                  </a:lnTo>
                  <a:lnTo>
                    <a:pt x="1163" y="1680"/>
                  </a:lnTo>
                  <a:lnTo>
                    <a:pt x="1164" y="1675"/>
                  </a:lnTo>
                  <a:lnTo>
                    <a:pt x="1166" y="1674"/>
                  </a:lnTo>
                  <a:lnTo>
                    <a:pt x="1171" y="1672"/>
                  </a:lnTo>
                  <a:lnTo>
                    <a:pt x="1174" y="1672"/>
                  </a:lnTo>
                  <a:lnTo>
                    <a:pt x="1180" y="1675"/>
                  </a:lnTo>
                  <a:lnTo>
                    <a:pt x="1186" y="1679"/>
                  </a:lnTo>
                  <a:lnTo>
                    <a:pt x="1191" y="1692"/>
                  </a:lnTo>
                  <a:lnTo>
                    <a:pt x="1198" y="1704"/>
                  </a:lnTo>
                  <a:lnTo>
                    <a:pt x="1200" y="1709"/>
                  </a:lnTo>
                  <a:lnTo>
                    <a:pt x="1201" y="1711"/>
                  </a:lnTo>
                  <a:lnTo>
                    <a:pt x="1205" y="1712"/>
                  </a:lnTo>
                  <a:lnTo>
                    <a:pt x="1206" y="1714"/>
                  </a:lnTo>
                  <a:lnTo>
                    <a:pt x="1211" y="1711"/>
                  </a:lnTo>
                  <a:lnTo>
                    <a:pt x="1218" y="1704"/>
                  </a:lnTo>
                  <a:lnTo>
                    <a:pt x="1220" y="1694"/>
                  </a:lnTo>
                  <a:lnTo>
                    <a:pt x="1223" y="1687"/>
                  </a:lnTo>
                  <a:lnTo>
                    <a:pt x="1227" y="1682"/>
                  </a:lnTo>
                  <a:lnTo>
                    <a:pt x="1230" y="1679"/>
                  </a:lnTo>
                  <a:lnTo>
                    <a:pt x="1233" y="1675"/>
                  </a:lnTo>
                  <a:lnTo>
                    <a:pt x="1238" y="1675"/>
                  </a:lnTo>
                  <a:lnTo>
                    <a:pt x="1245" y="1675"/>
                  </a:lnTo>
                  <a:lnTo>
                    <a:pt x="1250" y="1677"/>
                  </a:lnTo>
                  <a:lnTo>
                    <a:pt x="1259" y="1679"/>
                  </a:lnTo>
                  <a:lnTo>
                    <a:pt x="1265" y="1677"/>
                  </a:lnTo>
                  <a:lnTo>
                    <a:pt x="1274" y="1675"/>
                  </a:lnTo>
                  <a:lnTo>
                    <a:pt x="1282" y="1670"/>
                  </a:lnTo>
                  <a:lnTo>
                    <a:pt x="1289" y="1665"/>
                  </a:lnTo>
                  <a:lnTo>
                    <a:pt x="1296" y="1662"/>
                  </a:lnTo>
                  <a:lnTo>
                    <a:pt x="1302" y="1664"/>
                  </a:lnTo>
                  <a:lnTo>
                    <a:pt x="1311" y="1667"/>
                  </a:lnTo>
                  <a:lnTo>
                    <a:pt x="1324" y="1669"/>
                  </a:lnTo>
                  <a:lnTo>
                    <a:pt x="1338" y="1669"/>
                  </a:lnTo>
                  <a:lnTo>
                    <a:pt x="1350" y="1669"/>
                  </a:lnTo>
                  <a:lnTo>
                    <a:pt x="1361" y="1667"/>
                  </a:lnTo>
                  <a:lnTo>
                    <a:pt x="1370" y="1664"/>
                  </a:lnTo>
                  <a:lnTo>
                    <a:pt x="1376" y="1662"/>
                  </a:lnTo>
                  <a:lnTo>
                    <a:pt x="1382" y="1657"/>
                  </a:lnTo>
                  <a:lnTo>
                    <a:pt x="1383" y="1653"/>
                  </a:lnTo>
                  <a:lnTo>
                    <a:pt x="1385" y="1642"/>
                  </a:lnTo>
                  <a:lnTo>
                    <a:pt x="1387" y="1635"/>
                  </a:lnTo>
                  <a:lnTo>
                    <a:pt x="1390" y="1628"/>
                  </a:lnTo>
                  <a:lnTo>
                    <a:pt x="1395" y="1625"/>
                  </a:lnTo>
                  <a:lnTo>
                    <a:pt x="1400" y="1623"/>
                  </a:lnTo>
                  <a:lnTo>
                    <a:pt x="1405" y="1623"/>
                  </a:lnTo>
                  <a:lnTo>
                    <a:pt x="1410" y="1626"/>
                  </a:lnTo>
                  <a:lnTo>
                    <a:pt x="1417" y="1630"/>
                  </a:lnTo>
                  <a:lnTo>
                    <a:pt x="1425" y="1632"/>
                  </a:lnTo>
                  <a:lnTo>
                    <a:pt x="1432" y="1630"/>
                  </a:lnTo>
                  <a:lnTo>
                    <a:pt x="1439" y="1628"/>
                  </a:lnTo>
                  <a:lnTo>
                    <a:pt x="1444" y="1625"/>
                  </a:lnTo>
                  <a:lnTo>
                    <a:pt x="1447" y="1621"/>
                  </a:lnTo>
                  <a:lnTo>
                    <a:pt x="1451" y="1615"/>
                  </a:lnTo>
                  <a:lnTo>
                    <a:pt x="1452" y="1608"/>
                  </a:lnTo>
                  <a:lnTo>
                    <a:pt x="1456" y="1600"/>
                  </a:lnTo>
                  <a:lnTo>
                    <a:pt x="1456" y="1588"/>
                  </a:lnTo>
                  <a:lnTo>
                    <a:pt x="1456" y="1578"/>
                  </a:lnTo>
                  <a:lnTo>
                    <a:pt x="1459" y="1568"/>
                  </a:lnTo>
                  <a:lnTo>
                    <a:pt x="1462" y="1561"/>
                  </a:lnTo>
                  <a:lnTo>
                    <a:pt x="1466" y="1556"/>
                  </a:lnTo>
                  <a:lnTo>
                    <a:pt x="1472" y="1552"/>
                  </a:lnTo>
                  <a:lnTo>
                    <a:pt x="1479" y="1551"/>
                  </a:lnTo>
                  <a:lnTo>
                    <a:pt x="1488" y="1551"/>
                  </a:lnTo>
                  <a:lnTo>
                    <a:pt x="1499" y="1549"/>
                  </a:lnTo>
                  <a:lnTo>
                    <a:pt x="1509" y="1549"/>
                  </a:lnTo>
                  <a:lnTo>
                    <a:pt x="1518" y="1551"/>
                  </a:lnTo>
                  <a:lnTo>
                    <a:pt x="1523" y="1556"/>
                  </a:lnTo>
                  <a:lnTo>
                    <a:pt x="1526" y="1561"/>
                  </a:lnTo>
                  <a:lnTo>
                    <a:pt x="1528" y="1568"/>
                  </a:lnTo>
                  <a:lnTo>
                    <a:pt x="1530" y="1576"/>
                  </a:lnTo>
                  <a:lnTo>
                    <a:pt x="1528" y="1586"/>
                  </a:lnTo>
                  <a:lnTo>
                    <a:pt x="1514" y="1601"/>
                  </a:lnTo>
                  <a:lnTo>
                    <a:pt x="1501" y="1615"/>
                  </a:lnTo>
                  <a:lnTo>
                    <a:pt x="1499" y="1620"/>
                  </a:lnTo>
                  <a:lnTo>
                    <a:pt x="1498" y="1625"/>
                  </a:lnTo>
                  <a:lnTo>
                    <a:pt x="1498" y="1628"/>
                  </a:lnTo>
                  <a:lnTo>
                    <a:pt x="1499" y="1630"/>
                  </a:lnTo>
                  <a:lnTo>
                    <a:pt x="1501" y="1632"/>
                  </a:lnTo>
                  <a:lnTo>
                    <a:pt x="1504" y="1633"/>
                  </a:lnTo>
                  <a:lnTo>
                    <a:pt x="1508" y="1633"/>
                  </a:lnTo>
                  <a:lnTo>
                    <a:pt x="1514" y="1633"/>
                  </a:lnTo>
                  <a:lnTo>
                    <a:pt x="1533" y="1628"/>
                  </a:lnTo>
                  <a:lnTo>
                    <a:pt x="1552" y="1625"/>
                  </a:lnTo>
                  <a:lnTo>
                    <a:pt x="1555" y="1621"/>
                  </a:lnTo>
                  <a:lnTo>
                    <a:pt x="1560" y="1620"/>
                  </a:lnTo>
                  <a:lnTo>
                    <a:pt x="1563" y="1620"/>
                  </a:lnTo>
                  <a:lnTo>
                    <a:pt x="1568" y="1621"/>
                  </a:lnTo>
                  <a:lnTo>
                    <a:pt x="1575" y="1625"/>
                  </a:lnTo>
                  <a:lnTo>
                    <a:pt x="1583" y="1632"/>
                  </a:lnTo>
                  <a:lnTo>
                    <a:pt x="1587" y="1637"/>
                  </a:lnTo>
                  <a:lnTo>
                    <a:pt x="1590" y="1640"/>
                  </a:lnTo>
                  <a:lnTo>
                    <a:pt x="1592" y="1643"/>
                  </a:lnTo>
                  <a:lnTo>
                    <a:pt x="1595" y="1645"/>
                  </a:lnTo>
                  <a:lnTo>
                    <a:pt x="1599" y="1645"/>
                  </a:lnTo>
                  <a:lnTo>
                    <a:pt x="1602" y="1643"/>
                  </a:lnTo>
                  <a:lnTo>
                    <a:pt x="1605" y="1640"/>
                  </a:lnTo>
                  <a:lnTo>
                    <a:pt x="1609" y="1638"/>
                  </a:lnTo>
                  <a:lnTo>
                    <a:pt x="1621" y="1625"/>
                  </a:lnTo>
                  <a:lnTo>
                    <a:pt x="1634" y="1611"/>
                  </a:lnTo>
                  <a:lnTo>
                    <a:pt x="1634" y="1598"/>
                  </a:lnTo>
                  <a:lnTo>
                    <a:pt x="1636" y="1588"/>
                  </a:lnTo>
                  <a:lnTo>
                    <a:pt x="1637" y="1583"/>
                  </a:lnTo>
                  <a:lnTo>
                    <a:pt x="1639" y="1581"/>
                  </a:lnTo>
                  <a:lnTo>
                    <a:pt x="1642" y="1579"/>
                  </a:lnTo>
                  <a:lnTo>
                    <a:pt x="1646" y="1581"/>
                  </a:lnTo>
                  <a:lnTo>
                    <a:pt x="1661" y="1584"/>
                  </a:lnTo>
                  <a:lnTo>
                    <a:pt x="1678" y="1589"/>
                  </a:lnTo>
                  <a:lnTo>
                    <a:pt x="1686" y="1591"/>
                  </a:lnTo>
                  <a:lnTo>
                    <a:pt x="1696" y="1591"/>
                  </a:lnTo>
                  <a:lnTo>
                    <a:pt x="1700" y="1591"/>
                  </a:lnTo>
                  <a:lnTo>
                    <a:pt x="1703" y="1588"/>
                  </a:lnTo>
                  <a:lnTo>
                    <a:pt x="1706" y="1584"/>
                  </a:lnTo>
                  <a:lnTo>
                    <a:pt x="1710" y="1581"/>
                  </a:lnTo>
                  <a:lnTo>
                    <a:pt x="1715" y="1573"/>
                  </a:lnTo>
                  <a:lnTo>
                    <a:pt x="1720" y="1563"/>
                  </a:lnTo>
                  <a:lnTo>
                    <a:pt x="1722" y="1554"/>
                  </a:lnTo>
                  <a:lnTo>
                    <a:pt x="1722" y="1544"/>
                  </a:lnTo>
                  <a:lnTo>
                    <a:pt x="1720" y="1534"/>
                  </a:lnTo>
                  <a:lnTo>
                    <a:pt x="1716" y="1525"/>
                  </a:lnTo>
                  <a:lnTo>
                    <a:pt x="1713" y="1514"/>
                  </a:lnTo>
                  <a:lnTo>
                    <a:pt x="1708" y="1504"/>
                  </a:lnTo>
                  <a:lnTo>
                    <a:pt x="1695" y="1475"/>
                  </a:lnTo>
                  <a:lnTo>
                    <a:pt x="1686" y="1446"/>
                  </a:lnTo>
                  <a:lnTo>
                    <a:pt x="1683" y="1433"/>
                  </a:lnTo>
                  <a:lnTo>
                    <a:pt x="1681" y="1419"/>
                  </a:lnTo>
                  <a:lnTo>
                    <a:pt x="1681" y="1406"/>
                  </a:lnTo>
                  <a:lnTo>
                    <a:pt x="1684" y="1394"/>
                  </a:lnTo>
                  <a:lnTo>
                    <a:pt x="1684" y="1379"/>
                  </a:lnTo>
                  <a:lnTo>
                    <a:pt x="1684" y="1362"/>
                  </a:lnTo>
                  <a:lnTo>
                    <a:pt x="1674" y="1367"/>
                  </a:lnTo>
                  <a:lnTo>
                    <a:pt x="1666" y="1369"/>
                  </a:lnTo>
                  <a:lnTo>
                    <a:pt x="1654" y="1371"/>
                  </a:lnTo>
                  <a:lnTo>
                    <a:pt x="1642" y="1369"/>
                  </a:lnTo>
                  <a:lnTo>
                    <a:pt x="1634" y="1369"/>
                  </a:lnTo>
                  <a:lnTo>
                    <a:pt x="1629" y="1371"/>
                  </a:lnTo>
                  <a:lnTo>
                    <a:pt x="1624" y="1374"/>
                  </a:lnTo>
                  <a:lnTo>
                    <a:pt x="1619" y="1379"/>
                  </a:lnTo>
                  <a:lnTo>
                    <a:pt x="1614" y="1389"/>
                  </a:lnTo>
                  <a:lnTo>
                    <a:pt x="1609" y="1396"/>
                  </a:lnTo>
                  <a:lnTo>
                    <a:pt x="1602" y="1401"/>
                  </a:lnTo>
                  <a:lnTo>
                    <a:pt x="1595" y="1403"/>
                  </a:lnTo>
                  <a:lnTo>
                    <a:pt x="1592" y="1403"/>
                  </a:lnTo>
                  <a:lnTo>
                    <a:pt x="1589" y="1401"/>
                  </a:lnTo>
                  <a:lnTo>
                    <a:pt x="1585" y="1399"/>
                  </a:lnTo>
                  <a:lnTo>
                    <a:pt x="1583" y="1396"/>
                  </a:lnTo>
                  <a:lnTo>
                    <a:pt x="1580" y="1387"/>
                  </a:lnTo>
                  <a:lnTo>
                    <a:pt x="1578" y="1376"/>
                  </a:lnTo>
                  <a:lnTo>
                    <a:pt x="1582" y="1360"/>
                  </a:lnTo>
                  <a:lnTo>
                    <a:pt x="1585" y="1345"/>
                  </a:lnTo>
                  <a:lnTo>
                    <a:pt x="1594" y="1333"/>
                  </a:lnTo>
                  <a:lnTo>
                    <a:pt x="1604" y="1323"/>
                  </a:lnTo>
                  <a:lnTo>
                    <a:pt x="1609" y="1318"/>
                  </a:lnTo>
                  <a:lnTo>
                    <a:pt x="1615" y="1315"/>
                  </a:lnTo>
                  <a:lnTo>
                    <a:pt x="1621" y="1312"/>
                  </a:lnTo>
                  <a:lnTo>
                    <a:pt x="1627" y="1308"/>
                  </a:lnTo>
                  <a:lnTo>
                    <a:pt x="1642" y="1305"/>
                  </a:lnTo>
                  <a:lnTo>
                    <a:pt x="1659" y="1303"/>
                  </a:lnTo>
                  <a:lnTo>
                    <a:pt x="1664" y="1301"/>
                  </a:lnTo>
                  <a:lnTo>
                    <a:pt x="1668" y="1298"/>
                  </a:lnTo>
                  <a:lnTo>
                    <a:pt x="1669" y="1293"/>
                  </a:lnTo>
                  <a:lnTo>
                    <a:pt x="1671" y="1290"/>
                  </a:lnTo>
                  <a:lnTo>
                    <a:pt x="1674" y="1278"/>
                  </a:lnTo>
                  <a:lnTo>
                    <a:pt x="1674" y="1264"/>
                  </a:lnTo>
                  <a:lnTo>
                    <a:pt x="1674" y="1253"/>
                  </a:lnTo>
                  <a:lnTo>
                    <a:pt x="1676" y="1241"/>
                  </a:lnTo>
                  <a:lnTo>
                    <a:pt x="1674" y="1217"/>
                  </a:lnTo>
                  <a:lnTo>
                    <a:pt x="1674" y="1192"/>
                  </a:lnTo>
                  <a:lnTo>
                    <a:pt x="1661" y="1180"/>
                  </a:lnTo>
                  <a:lnTo>
                    <a:pt x="1647" y="1165"/>
                  </a:lnTo>
                  <a:lnTo>
                    <a:pt x="1642" y="1158"/>
                  </a:lnTo>
                  <a:lnTo>
                    <a:pt x="1639" y="1152"/>
                  </a:lnTo>
                  <a:lnTo>
                    <a:pt x="1636" y="1145"/>
                  </a:lnTo>
                  <a:lnTo>
                    <a:pt x="1634" y="1136"/>
                  </a:lnTo>
                  <a:lnTo>
                    <a:pt x="1632" y="1128"/>
                  </a:lnTo>
                  <a:lnTo>
                    <a:pt x="1634" y="1121"/>
                  </a:lnTo>
                  <a:lnTo>
                    <a:pt x="1636" y="1113"/>
                  </a:lnTo>
                  <a:lnTo>
                    <a:pt x="1637" y="1103"/>
                  </a:lnTo>
                  <a:lnTo>
                    <a:pt x="1639" y="1091"/>
                  </a:lnTo>
                  <a:lnTo>
                    <a:pt x="1639" y="1079"/>
                  </a:lnTo>
                  <a:lnTo>
                    <a:pt x="1637" y="1067"/>
                  </a:lnTo>
                  <a:lnTo>
                    <a:pt x="1636" y="1056"/>
                  </a:lnTo>
                  <a:lnTo>
                    <a:pt x="1629" y="1054"/>
                  </a:lnTo>
                  <a:lnTo>
                    <a:pt x="1622" y="1052"/>
                  </a:lnTo>
                  <a:lnTo>
                    <a:pt x="1612" y="1067"/>
                  </a:lnTo>
                  <a:lnTo>
                    <a:pt x="1602" y="1081"/>
                  </a:lnTo>
                  <a:lnTo>
                    <a:pt x="1594" y="1081"/>
                  </a:lnTo>
                  <a:lnTo>
                    <a:pt x="1585" y="1083"/>
                  </a:lnTo>
                  <a:lnTo>
                    <a:pt x="1580" y="1084"/>
                  </a:lnTo>
                  <a:lnTo>
                    <a:pt x="1575" y="1086"/>
                  </a:lnTo>
                  <a:lnTo>
                    <a:pt x="1572" y="1091"/>
                  </a:lnTo>
                  <a:lnTo>
                    <a:pt x="1568" y="1094"/>
                  </a:lnTo>
                  <a:lnTo>
                    <a:pt x="1565" y="1108"/>
                  </a:lnTo>
                  <a:lnTo>
                    <a:pt x="1563" y="1123"/>
                  </a:lnTo>
                  <a:lnTo>
                    <a:pt x="1552" y="1135"/>
                  </a:lnTo>
                  <a:lnTo>
                    <a:pt x="1541" y="1148"/>
                  </a:lnTo>
                  <a:lnTo>
                    <a:pt x="1538" y="1136"/>
                  </a:lnTo>
                  <a:lnTo>
                    <a:pt x="1535" y="1125"/>
                  </a:lnTo>
                  <a:lnTo>
                    <a:pt x="1526" y="1115"/>
                  </a:lnTo>
                  <a:lnTo>
                    <a:pt x="1520" y="1108"/>
                  </a:lnTo>
                  <a:lnTo>
                    <a:pt x="1514" y="1106"/>
                  </a:lnTo>
                  <a:lnTo>
                    <a:pt x="1511" y="1104"/>
                  </a:lnTo>
                  <a:lnTo>
                    <a:pt x="1506" y="1106"/>
                  </a:lnTo>
                  <a:lnTo>
                    <a:pt x="1503" y="1108"/>
                  </a:lnTo>
                  <a:lnTo>
                    <a:pt x="1498" y="1120"/>
                  </a:lnTo>
                  <a:lnTo>
                    <a:pt x="1493" y="1131"/>
                  </a:lnTo>
                  <a:lnTo>
                    <a:pt x="1483" y="1133"/>
                  </a:lnTo>
                  <a:lnTo>
                    <a:pt x="1474" y="1135"/>
                  </a:lnTo>
                  <a:lnTo>
                    <a:pt x="1471" y="1133"/>
                  </a:lnTo>
                  <a:lnTo>
                    <a:pt x="1467" y="1130"/>
                  </a:lnTo>
                  <a:lnTo>
                    <a:pt x="1481" y="1116"/>
                  </a:lnTo>
                  <a:lnTo>
                    <a:pt x="1496" y="1103"/>
                  </a:lnTo>
                  <a:lnTo>
                    <a:pt x="1491" y="1101"/>
                  </a:lnTo>
                  <a:lnTo>
                    <a:pt x="1486" y="1098"/>
                  </a:lnTo>
                  <a:lnTo>
                    <a:pt x="1481" y="1093"/>
                  </a:lnTo>
                  <a:lnTo>
                    <a:pt x="1476" y="1086"/>
                  </a:lnTo>
                  <a:lnTo>
                    <a:pt x="1467" y="1071"/>
                  </a:lnTo>
                  <a:lnTo>
                    <a:pt x="1459" y="1049"/>
                  </a:lnTo>
                  <a:lnTo>
                    <a:pt x="1442" y="1047"/>
                  </a:lnTo>
                  <a:lnTo>
                    <a:pt x="1424" y="1047"/>
                  </a:lnTo>
                  <a:lnTo>
                    <a:pt x="1425" y="1040"/>
                  </a:lnTo>
                  <a:lnTo>
                    <a:pt x="1427" y="1034"/>
                  </a:lnTo>
                  <a:lnTo>
                    <a:pt x="1429" y="1030"/>
                  </a:lnTo>
                  <a:lnTo>
                    <a:pt x="1432" y="1030"/>
                  </a:lnTo>
                  <a:lnTo>
                    <a:pt x="1435" y="1030"/>
                  </a:lnTo>
                  <a:lnTo>
                    <a:pt x="1442" y="1034"/>
                  </a:lnTo>
                  <a:lnTo>
                    <a:pt x="1466" y="1042"/>
                  </a:lnTo>
                  <a:lnTo>
                    <a:pt x="1489" y="1051"/>
                  </a:lnTo>
                  <a:lnTo>
                    <a:pt x="1498" y="1056"/>
                  </a:lnTo>
                  <a:lnTo>
                    <a:pt x="1508" y="1061"/>
                  </a:lnTo>
                  <a:lnTo>
                    <a:pt x="1511" y="1052"/>
                  </a:lnTo>
                  <a:lnTo>
                    <a:pt x="1516" y="1046"/>
                  </a:lnTo>
                  <a:lnTo>
                    <a:pt x="1538" y="1047"/>
                  </a:lnTo>
                  <a:lnTo>
                    <a:pt x="1558" y="1049"/>
                  </a:lnTo>
                  <a:lnTo>
                    <a:pt x="1565" y="1054"/>
                  </a:lnTo>
                  <a:lnTo>
                    <a:pt x="1572" y="1059"/>
                  </a:lnTo>
                  <a:lnTo>
                    <a:pt x="1578" y="1061"/>
                  </a:lnTo>
                  <a:lnTo>
                    <a:pt x="1585" y="1062"/>
                  </a:lnTo>
                  <a:lnTo>
                    <a:pt x="1590" y="1040"/>
                  </a:lnTo>
                  <a:lnTo>
                    <a:pt x="1597" y="1019"/>
                  </a:lnTo>
                  <a:lnTo>
                    <a:pt x="1592" y="1015"/>
                  </a:lnTo>
                  <a:lnTo>
                    <a:pt x="1589" y="1012"/>
                  </a:lnTo>
                  <a:lnTo>
                    <a:pt x="1585" y="1008"/>
                  </a:lnTo>
                  <a:lnTo>
                    <a:pt x="1582" y="1007"/>
                  </a:lnTo>
                  <a:lnTo>
                    <a:pt x="1577" y="1005"/>
                  </a:lnTo>
                  <a:lnTo>
                    <a:pt x="1572" y="1003"/>
                  </a:lnTo>
                  <a:lnTo>
                    <a:pt x="1565" y="1000"/>
                  </a:lnTo>
                  <a:lnTo>
                    <a:pt x="1560" y="997"/>
                  </a:lnTo>
                  <a:lnTo>
                    <a:pt x="1557" y="992"/>
                  </a:lnTo>
                  <a:lnTo>
                    <a:pt x="1553" y="985"/>
                  </a:lnTo>
                  <a:lnTo>
                    <a:pt x="1545" y="985"/>
                  </a:lnTo>
                  <a:lnTo>
                    <a:pt x="1538" y="985"/>
                  </a:lnTo>
                  <a:lnTo>
                    <a:pt x="1528" y="992"/>
                  </a:lnTo>
                  <a:lnTo>
                    <a:pt x="1520" y="1000"/>
                  </a:lnTo>
                  <a:lnTo>
                    <a:pt x="1514" y="1003"/>
                  </a:lnTo>
                  <a:lnTo>
                    <a:pt x="1509" y="1007"/>
                  </a:lnTo>
                  <a:lnTo>
                    <a:pt x="1504" y="1007"/>
                  </a:lnTo>
                  <a:lnTo>
                    <a:pt x="1499" y="1007"/>
                  </a:lnTo>
                  <a:lnTo>
                    <a:pt x="1494" y="1003"/>
                  </a:lnTo>
                  <a:lnTo>
                    <a:pt x="1491" y="1002"/>
                  </a:lnTo>
                  <a:lnTo>
                    <a:pt x="1486" y="998"/>
                  </a:lnTo>
                  <a:lnTo>
                    <a:pt x="1483" y="995"/>
                  </a:lnTo>
                  <a:lnTo>
                    <a:pt x="1479" y="993"/>
                  </a:lnTo>
                  <a:lnTo>
                    <a:pt x="1476" y="990"/>
                  </a:lnTo>
                  <a:lnTo>
                    <a:pt x="1476" y="985"/>
                  </a:lnTo>
                  <a:lnTo>
                    <a:pt x="1476" y="982"/>
                  </a:lnTo>
                  <a:lnTo>
                    <a:pt x="1481" y="983"/>
                  </a:lnTo>
                  <a:lnTo>
                    <a:pt x="1486" y="987"/>
                  </a:lnTo>
                  <a:lnTo>
                    <a:pt x="1491" y="990"/>
                  </a:lnTo>
                  <a:lnTo>
                    <a:pt x="1496" y="993"/>
                  </a:lnTo>
                  <a:lnTo>
                    <a:pt x="1499" y="995"/>
                  </a:lnTo>
                  <a:lnTo>
                    <a:pt x="1504" y="997"/>
                  </a:lnTo>
                  <a:lnTo>
                    <a:pt x="1508" y="997"/>
                  </a:lnTo>
                  <a:lnTo>
                    <a:pt x="1511" y="995"/>
                  </a:lnTo>
                  <a:lnTo>
                    <a:pt x="1523" y="985"/>
                  </a:lnTo>
                  <a:lnTo>
                    <a:pt x="1535" y="975"/>
                  </a:lnTo>
                  <a:lnTo>
                    <a:pt x="1541" y="975"/>
                  </a:lnTo>
                  <a:lnTo>
                    <a:pt x="1548" y="975"/>
                  </a:lnTo>
                  <a:lnTo>
                    <a:pt x="1557" y="976"/>
                  </a:lnTo>
                  <a:lnTo>
                    <a:pt x="1565" y="978"/>
                  </a:lnTo>
                  <a:lnTo>
                    <a:pt x="1573" y="978"/>
                  </a:lnTo>
                  <a:lnTo>
                    <a:pt x="1582" y="980"/>
                  </a:lnTo>
                  <a:lnTo>
                    <a:pt x="1585" y="985"/>
                  </a:lnTo>
                  <a:lnTo>
                    <a:pt x="1590" y="990"/>
                  </a:lnTo>
                  <a:lnTo>
                    <a:pt x="1590" y="998"/>
                  </a:lnTo>
                  <a:lnTo>
                    <a:pt x="1590" y="1007"/>
                  </a:lnTo>
                  <a:lnTo>
                    <a:pt x="1595" y="1010"/>
                  </a:lnTo>
                  <a:lnTo>
                    <a:pt x="1599" y="1014"/>
                  </a:lnTo>
                  <a:lnTo>
                    <a:pt x="1612" y="1010"/>
                  </a:lnTo>
                  <a:lnTo>
                    <a:pt x="1626" y="1007"/>
                  </a:lnTo>
                  <a:lnTo>
                    <a:pt x="1629" y="1022"/>
                  </a:lnTo>
                  <a:lnTo>
                    <a:pt x="1632" y="1039"/>
                  </a:lnTo>
                  <a:lnTo>
                    <a:pt x="1641" y="1049"/>
                  </a:lnTo>
                  <a:lnTo>
                    <a:pt x="1647" y="1059"/>
                  </a:lnTo>
                  <a:lnTo>
                    <a:pt x="1651" y="1062"/>
                  </a:lnTo>
                  <a:lnTo>
                    <a:pt x="1654" y="1066"/>
                  </a:lnTo>
                  <a:lnTo>
                    <a:pt x="1658" y="1066"/>
                  </a:lnTo>
                  <a:lnTo>
                    <a:pt x="1661" y="1066"/>
                  </a:lnTo>
                  <a:lnTo>
                    <a:pt x="1661" y="1069"/>
                  </a:lnTo>
                  <a:lnTo>
                    <a:pt x="1661" y="1072"/>
                  </a:lnTo>
                  <a:lnTo>
                    <a:pt x="1661" y="1074"/>
                  </a:lnTo>
                  <a:lnTo>
                    <a:pt x="1663" y="1078"/>
                  </a:lnTo>
                  <a:lnTo>
                    <a:pt x="1669" y="1081"/>
                  </a:lnTo>
                  <a:lnTo>
                    <a:pt x="1678" y="1083"/>
                  </a:lnTo>
                  <a:lnTo>
                    <a:pt x="1681" y="1078"/>
                  </a:lnTo>
                  <a:lnTo>
                    <a:pt x="1684" y="1072"/>
                  </a:lnTo>
                  <a:lnTo>
                    <a:pt x="1695" y="1072"/>
                  </a:lnTo>
                  <a:lnTo>
                    <a:pt x="1703" y="1072"/>
                  </a:lnTo>
                  <a:lnTo>
                    <a:pt x="1706" y="1078"/>
                  </a:lnTo>
                  <a:lnTo>
                    <a:pt x="1710" y="1083"/>
                  </a:lnTo>
                  <a:lnTo>
                    <a:pt x="1716" y="1076"/>
                  </a:lnTo>
                  <a:lnTo>
                    <a:pt x="1722" y="1071"/>
                  </a:lnTo>
                  <a:lnTo>
                    <a:pt x="1733" y="1071"/>
                  </a:lnTo>
                  <a:lnTo>
                    <a:pt x="1745" y="1071"/>
                  </a:lnTo>
                  <a:lnTo>
                    <a:pt x="1750" y="1072"/>
                  </a:lnTo>
                  <a:lnTo>
                    <a:pt x="1754" y="1076"/>
                  </a:lnTo>
                  <a:lnTo>
                    <a:pt x="1777" y="1066"/>
                  </a:lnTo>
                  <a:lnTo>
                    <a:pt x="1801" y="1057"/>
                  </a:lnTo>
                  <a:lnTo>
                    <a:pt x="1806" y="1054"/>
                  </a:lnTo>
                  <a:lnTo>
                    <a:pt x="1809" y="1054"/>
                  </a:lnTo>
                  <a:lnTo>
                    <a:pt x="1812" y="1057"/>
                  </a:lnTo>
                  <a:lnTo>
                    <a:pt x="1812" y="1062"/>
                  </a:lnTo>
                  <a:lnTo>
                    <a:pt x="1804" y="1072"/>
                  </a:lnTo>
                  <a:lnTo>
                    <a:pt x="1796" y="1083"/>
                  </a:lnTo>
                  <a:lnTo>
                    <a:pt x="1787" y="1084"/>
                  </a:lnTo>
                  <a:lnTo>
                    <a:pt x="1779" y="1086"/>
                  </a:lnTo>
                  <a:lnTo>
                    <a:pt x="1780" y="1091"/>
                  </a:lnTo>
                  <a:lnTo>
                    <a:pt x="1780" y="1094"/>
                  </a:lnTo>
                  <a:lnTo>
                    <a:pt x="1785" y="1094"/>
                  </a:lnTo>
                  <a:lnTo>
                    <a:pt x="1791" y="1094"/>
                  </a:lnTo>
                  <a:lnTo>
                    <a:pt x="1796" y="1089"/>
                  </a:lnTo>
                  <a:lnTo>
                    <a:pt x="1801" y="1084"/>
                  </a:lnTo>
                  <a:lnTo>
                    <a:pt x="1816" y="1066"/>
                  </a:lnTo>
                  <a:lnTo>
                    <a:pt x="1833" y="1046"/>
                  </a:lnTo>
                  <a:lnTo>
                    <a:pt x="1844" y="1029"/>
                  </a:lnTo>
                  <a:lnTo>
                    <a:pt x="1856" y="1014"/>
                  </a:lnTo>
                  <a:lnTo>
                    <a:pt x="1863" y="1008"/>
                  </a:lnTo>
                  <a:lnTo>
                    <a:pt x="1871" y="1003"/>
                  </a:lnTo>
                  <a:lnTo>
                    <a:pt x="1878" y="1000"/>
                  </a:lnTo>
                  <a:lnTo>
                    <a:pt x="1886" y="1000"/>
                  </a:lnTo>
                  <a:lnTo>
                    <a:pt x="1892" y="998"/>
                  </a:lnTo>
                  <a:lnTo>
                    <a:pt x="1895" y="998"/>
                  </a:lnTo>
                  <a:lnTo>
                    <a:pt x="1898" y="995"/>
                  </a:lnTo>
                  <a:lnTo>
                    <a:pt x="1902" y="990"/>
                  </a:lnTo>
                  <a:lnTo>
                    <a:pt x="1908" y="980"/>
                  </a:lnTo>
                  <a:lnTo>
                    <a:pt x="1915" y="966"/>
                  </a:lnTo>
                  <a:lnTo>
                    <a:pt x="1922" y="950"/>
                  </a:lnTo>
                  <a:lnTo>
                    <a:pt x="1927" y="938"/>
                  </a:lnTo>
                  <a:lnTo>
                    <a:pt x="1918" y="933"/>
                  </a:lnTo>
                  <a:lnTo>
                    <a:pt x="1903" y="923"/>
                  </a:lnTo>
                  <a:lnTo>
                    <a:pt x="1897" y="916"/>
                  </a:lnTo>
                  <a:lnTo>
                    <a:pt x="1888" y="911"/>
                  </a:lnTo>
                  <a:lnTo>
                    <a:pt x="1881" y="907"/>
                  </a:lnTo>
                  <a:lnTo>
                    <a:pt x="1875" y="906"/>
                  </a:lnTo>
                  <a:lnTo>
                    <a:pt x="1870" y="906"/>
                  </a:lnTo>
                  <a:lnTo>
                    <a:pt x="1865" y="906"/>
                  </a:lnTo>
                  <a:lnTo>
                    <a:pt x="1858" y="906"/>
                  </a:lnTo>
                  <a:lnTo>
                    <a:pt x="1853" y="907"/>
                  </a:lnTo>
                  <a:lnTo>
                    <a:pt x="1848" y="911"/>
                  </a:lnTo>
                  <a:lnTo>
                    <a:pt x="1843" y="912"/>
                  </a:lnTo>
                  <a:lnTo>
                    <a:pt x="1838" y="914"/>
                  </a:lnTo>
                  <a:lnTo>
                    <a:pt x="1833" y="912"/>
                  </a:lnTo>
                  <a:lnTo>
                    <a:pt x="1829" y="912"/>
                  </a:lnTo>
                  <a:lnTo>
                    <a:pt x="1824" y="909"/>
                  </a:lnTo>
                  <a:lnTo>
                    <a:pt x="1821" y="906"/>
                  </a:lnTo>
                  <a:lnTo>
                    <a:pt x="1816" y="902"/>
                  </a:lnTo>
                  <a:lnTo>
                    <a:pt x="1804" y="891"/>
                  </a:lnTo>
                  <a:lnTo>
                    <a:pt x="1794" y="880"/>
                  </a:lnTo>
                  <a:lnTo>
                    <a:pt x="1789" y="877"/>
                  </a:lnTo>
                  <a:lnTo>
                    <a:pt x="1785" y="874"/>
                  </a:lnTo>
                  <a:lnTo>
                    <a:pt x="1782" y="872"/>
                  </a:lnTo>
                  <a:lnTo>
                    <a:pt x="1779" y="872"/>
                  </a:lnTo>
                  <a:lnTo>
                    <a:pt x="1775" y="872"/>
                  </a:lnTo>
                  <a:lnTo>
                    <a:pt x="1772" y="874"/>
                  </a:lnTo>
                  <a:lnTo>
                    <a:pt x="1769" y="877"/>
                  </a:lnTo>
                  <a:lnTo>
                    <a:pt x="1765" y="880"/>
                  </a:lnTo>
                  <a:lnTo>
                    <a:pt x="1759" y="892"/>
                  </a:lnTo>
                  <a:lnTo>
                    <a:pt x="1752" y="904"/>
                  </a:lnTo>
                  <a:lnTo>
                    <a:pt x="1745" y="911"/>
                  </a:lnTo>
                  <a:lnTo>
                    <a:pt x="1738" y="914"/>
                  </a:lnTo>
                  <a:lnTo>
                    <a:pt x="1735" y="912"/>
                  </a:lnTo>
                  <a:lnTo>
                    <a:pt x="1732" y="911"/>
                  </a:lnTo>
                  <a:lnTo>
                    <a:pt x="1728" y="907"/>
                  </a:lnTo>
                  <a:lnTo>
                    <a:pt x="1727" y="902"/>
                  </a:lnTo>
                  <a:lnTo>
                    <a:pt x="1720" y="899"/>
                  </a:lnTo>
                  <a:lnTo>
                    <a:pt x="1711" y="896"/>
                  </a:lnTo>
                  <a:lnTo>
                    <a:pt x="1705" y="894"/>
                  </a:lnTo>
                  <a:lnTo>
                    <a:pt x="1696" y="892"/>
                  </a:lnTo>
                  <a:lnTo>
                    <a:pt x="1678" y="892"/>
                  </a:lnTo>
                  <a:lnTo>
                    <a:pt x="1659" y="894"/>
                  </a:lnTo>
                  <a:lnTo>
                    <a:pt x="1658" y="877"/>
                  </a:lnTo>
                  <a:lnTo>
                    <a:pt x="1658" y="862"/>
                  </a:lnTo>
                  <a:lnTo>
                    <a:pt x="1659" y="848"/>
                  </a:lnTo>
                  <a:lnTo>
                    <a:pt x="1661" y="837"/>
                  </a:lnTo>
                  <a:lnTo>
                    <a:pt x="1664" y="825"/>
                  </a:lnTo>
                  <a:lnTo>
                    <a:pt x="1668" y="816"/>
                  </a:lnTo>
                  <a:lnTo>
                    <a:pt x="1673" y="808"/>
                  </a:lnTo>
                  <a:lnTo>
                    <a:pt x="1678" y="801"/>
                  </a:lnTo>
                  <a:lnTo>
                    <a:pt x="1688" y="776"/>
                  </a:lnTo>
                  <a:lnTo>
                    <a:pt x="1696" y="756"/>
                  </a:lnTo>
                  <a:lnTo>
                    <a:pt x="1706" y="739"/>
                  </a:lnTo>
                  <a:lnTo>
                    <a:pt x="1715" y="727"/>
                  </a:lnTo>
                  <a:lnTo>
                    <a:pt x="1728" y="707"/>
                  </a:lnTo>
                  <a:lnTo>
                    <a:pt x="1740" y="687"/>
                  </a:lnTo>
                  <a:lnTo>
                    <a:pt x="1750" y="665"/>
                  </a:lnTo>
                  <a:lnTo>
                    <a:pt x="1759" y="640"/>
                  </a:lnTo>
                  <a:lnTo>
                    <a:pt x="1764" y="635"/>
                  </a:lnTo>
                  <a:lnTo>
                    <a:pt x="1765" y="628"/>
                  </a:lnTo>
                  <a:lnTo>
                    <a:pt x="1764" y="623"/>
                  </a:lnTo>
                  <a:lnTo>
                    <a:pt x="1762" y="616"/>
                  </a:lnTo>
                  <a:lnTo>
                    <a:pt x="1757" y="609"/>
                  </a:lnTo>
                  <a:lnTo>
                    <a:pt x="1750" y="603"/>
                  </a:lnTo>
                  <a:lnTo>
                    <a:pt x="1743" y="596"/>
                  </a:lnTo>
                  <a:lnTo>
                    <a:pt x="1733" y="589"/>
                  </a:lnTo>
                  <a:lnTo>
                    <a:pt x="1723" y="579"/>
                  </a:lnTo>
                  <a:lnTo>
                    <a:pt x="1716" y="569"/>
                  </a:lnTo>
                  <a:lnTo>
                    <a:pt x="1711" y="559"/>
                  </a:lnTo>
                  <a:lnTo>
                    <a:pt x="1710" y="549"/>
                  </a:lnTo>
                  <a:lnTo>
                    <a:pt x="1705" y="540"/>
                  </a:lnTo>
                  <a:lnTo>
                    <a:pt x="1701" y="534"/>
                  </a:lnTo>
                  <a:lnTo>
                    <a:pt x="1698" y="527"/>
                  </a:lnTo>
                  <a:lnTo>
                    <a:pt x="1696" y="518"/>
                  </a:lnTo>
                  <a:lnTo>
                    <a:pt x="1696" y="505"/>
                  </a:lnTo>
                  <a:lnTo>
                    <a:pt x="1698" y="490"/>
                  </a:lnTo>
                  <a:lnTo>
                    <a:pt x="1696" y="471"/>
                  </a:lnTo>
                  <a:lnTo>
                    <a:pt x="1693" y="453"/>
                  </a:lnTo>
                  <a:lnTo>
                    <a:pt x="1690" y="446"/>
                  </a:lnTo>
                  <a:lnTo>
                    <a:pt x="1688" y="441"/>
                  </a:lnTo>
                  <a:lnTo>
                    <a:pt x="1684" y="438"/>
                  </a:lnTo>
                  <a:lnTo>
                    <a:pt x="1681" y="436"/>
                  </a:lnTo>
                  <a:lnTo>
                    <a:pt x="1678" y="436"/>
                  </a:lnTo>
                  <a:lnTo>
                    <a:pt x="1674" y="438"/>
                  </a:lnTo>
                  <a:lnTo>
                    <a:pt x="1669" y="441"/>
                  </a:lnTo>
                  <a:lnTo>
                    <a:pt x="1666" y="446"/>
                  </a:lnTo>
                  <a:lnTo>
                    <a:pt x="1658" y="456"/>
                  </a:lnTo>
                  <a:lnTo>
                    <a:pt x="1651" y="468"/>
                  </a:lnTo>
                  <a:lnTo>
                    <a:pt x="1644" y="473"/>
                  </a:lnTo>
                  <a:lnTo>
                    <a:pt x="1639" y="476"/>
                  </a:lnTo>
                  <a:lnTo>
                    <a:pt x="1634" y="476"/>
                  </a:lnTo>
                  <a:lnTo>
                    <a:pt x="1631" y="475"/>
                  </a:lnTo>
                  <a:lnTo>
                    <a:pt x="1631" y="470"/>
                  </a:lnTo>
                  <a:lnTo>
                    <a:pt x="1631" y="463"/>
                  </a:lnTo>
                  <a:lnTo>
                    <a:pt x="1632" y="454"/>
                  </a:lnTo>
                  <a:lnTo>
                    <a:pt x="1634" y="443"/>
                  </a:lnTo>
                  <a:lnTo>
                    <a:pt x="1637" y="436"/>
                  </a:lnTo>
                  <a:lnTo>
                    <a:pt x="1637" y="429"/>
                  </a:lnTo>
                  <a:lnTo>
                    <a:pt x="1636" y="422"/>
                  </a:lnTo>
                  <a:lnTo>
                    <a:pt x="1634" y="416"/>
                  </a:lnTo>
                  <a:lnTo>
                    <a:pt x="1631" y="411"/>
                  </a:lnTo>
                  <a:lnTo>
                    <a:pt x="1626" y="404"/>
                  </a:lnTo>
                  <a:lnTo>
                    <a:pt x="1619" y="399"/>
                  </a:lnTo>
                  <a:lnTo>
                    <a:pt x="1612" y="394"/>
                  </a:lnTo>
                  <a:lnTo>
                    <a:pt x="1605" y="387"/>
                  </a:lnTo>
                  <a:lnTo>
                    <a:pt x="1599" y="384"/>
                  </a:lnTo>
                  <a:lnTo>
                    <a:pt x="1592" y="382"/>
                  </a:lnTo>
                  <a:lnTo>
                    <a:pt x="1587" y="382"/>
                  </a:lnTo>
                  <a:lnTo>
                    <a:pt x="1582" y="384"/>
                  </a:lnTo>
                  <a:lnTo>
                    <a:pt x="1578" y="387"/>
                  </a:lnTo>
                  <a:lnTo>
                    <a:pt x="1573" y="390"/>
                  </a:lnTo>
                  <a:lnTo>
                    <a:pt x="1570" y="395"/>
                  </a:lnTo>
                  <a:lnTo>
                    <a:pt x="1565" y="402"/>
                  </a:lnTo>
                  <a:lnTo>
                    <a:pt x="1557" y="407"/>
                  </a:lnTo>
                  <a:lnTo>
                    <a:pt x="1548" y="411"/>
                  </a:lnTo>
                  <a:lnTo>
                    <a:pt x="1536" y="414"/>
                  </a:lnTo>
                  <a:lnTo>
                    <a:pt x="1526" y="416"/>
                  </a:lnTo>
                  <a:lnTo>
                    <a:pt x="1518" y="416"/>
                  </a:lnTo>
                  <a:lnTo>
                    <a:pt x="1509" y="416"/>
                  </a:lnTo>
                  <a:lnTo>
                    <a:pt x="1501" y="412"/>
                  </a:lnTo>
                  <a:lnTo>
                    <a:pt x="1493" y="409"/>
                  </a:lnTo>
                  <a:lnTo>
                    <a:pt x="1484" y="404"/>
                  </a:lnTo>
                  <a:lnTo>
                    <a:pt x="1476" y="397"/>
                  </a:lnTo>
                  <a:lnTo>
                    <a:pt x="1467" y="390"/>
                  </a:lnTo>
                  <a:lnTo>
                    <a:pt x="1464" y="385"/>
                  </a:lnTo>
                  <a:lnTo>
                    <a:pt x="1459" y="382"/>
                  </a:lnTo>
                  <a:lnTo>
                    <a:pt x="1454" y="380"/>
                  </a:lnTo>
                  <a:lnTo>
                    <a:pt x="1445" y="380"/>
                  </a:lnTo>
                  <a:lnTo>
                    <a:pt x="1439" y="380"/>
                  </a:lnTo>
                  <a:lnTo>
                    <a:pt x="1434" y="380"/>
                  </a:lnTo>
                  <a:lnTo>
                    <a:pt x="1430" y="380"/>
                  </a:lnTo>
                  <a:lnTo>
                    <a:pt x="1427" y="379"/>
                  </a:lnTo>
                  <a:lnTo>
                    <a:pt x="1424" y="375"/>
                  </a:lnTo>
                  <a:lnTo>
                    <a:pt x="1422" y="372"/>
                  </a:lnTo>
                  <a:lnTo>
                    <a:pt x="1420" y="367"/>
                  </a:lnTo>
                  <a:lnTo>
                    <a:pt x="1420" y="362"/>
                  </a:lnTo>
                  <a:lnTo>
                    <a:pt x="1420" y="357"/>
                  </a:lnTo>
                  <a:lnTo>
                    <a:pt x="1420" y="352"/>
                  </a:lnTo>
                  <a:lnTo>
                    <a:pt x="1419" y="348"/>
                  </a:lnTo>
                  <a:lnTo>
                    <a:pt x="1417" y="345"/>
                  </a:lnTo>
                  <a:lnTo>
                    <a:pt x="1412" y="342"/>
                  </a:lnTo>
                  <a:lnTo>
                    <a:pt x="1403" y="338"/>
                  </a:lnTo>
                  <a:lnTo>
                    <a:pt x="1398" y="338"/>
                  </a:lnTo>
                  <a:lnTo>
                    <a:pt x="1392" y="337"/>
                  </a:lnTo>
                  <a:lnTo>
                    <a:pt x="1387" y="335"/>
                  </a:lnTo>
                  <a:lnTo>
                    <a:pt x="1382" y="330"/>
                  </a:lnTo>
                  <a:lnTo>
                    <a:pt x="1378" y="325"/>
                  </a:lnTo>
                  <a:lnTo>
                    <a:pt x="1375" y="318"/>
                  </a:lnTo>
                  <a:lnTo>
                    <a:pt x="1373" y="310"/>
                  </a:lnTo>
                  <a:lnTo>
                    <a:pt x="1371" y="299"/>
                  </a:lnTo>
                  <a:lnTo>
                    <a:pt x="1371" y="289"/>
                  </a:lnTo>
                  <a:lnTo>
                    <a:pt x="1371" y="279"/>
                  </a:lnTo>
                  <a:lnTo>
                    <a:pt x="1368" y="271"/>
                  </a:lnTo>
                  <a:lnTo>
                    <a:pt x="1365" y="259"/>
                  </a:lnTo>
                  <a:lnTo>
                    <a:pt x="1358" y="254"/>
                  </a:lnTo>
                  <a:lnTo>
                    <a:pt x="1355" y="251"/>
                  </a:lnTo>
                  <a:lnTo>
                    <a:pt x="1355" y="246"/>
                  </a:lnTo>
                  <a:lnTo>
                    <a:pt x="1356" y="242"/>
                  </a:lnTo>
                  <a:lnTo>
                    <a:pt x="1351" y="239"/>
                  </a:lnTo>
                  <a:lnTo>
                    <a:pt x="1348" y="237"/>
                  </a:lnTo>
                  <a:lnTo>
                    <a:pt x="1343" y="237"/>
                  </a:lnTo>
                  <a:lnTo>
                    <a:pt x="1339" y="239"/>
                  </a:lnTo>
                  <a:lnTo>
                    <a:pt x="1334" y="246"/>
                  </a:lnTo>
                  <a:lnTo>
                    <a:pt x="1329" y="252"/>
                  </a:lnTo>
                  <a:lnTo>
                    <a:pt x="1326" y="256"/>
                  </a:lnTo>
                  <a:lnTo>
                    <a:pt x="1321" y="257"/>
                  </a:lnTo>
                  <a:lnTo>
                    <a:pt x="1318" y="259"/>
                  </a:lnTo>
                  <a:lnTo>
                    <a:pt x="1314" y="257"/>
                  </a:lnTo>
                  <a:lnTo>
                    <a:pt x="1312" y="254"/>
                  </a:lnTo>
                  <a:lnTo>
                    <a:pt x="1311" y="251"/>
                  </a:lnTo>
                  <a:lnTo>
                    <a:pt x="1311" y="246"/>
                  </a:lnTo>
                  <a:lnTo>
                    <a:pt x="1314" y="239"/>
                  </a:lnTo>
                  <a:lnTo>
                    <a:pt x="1314" y="234"/>
                  </a:lnTo>
                  <a:lnTo>
                    <a:pt x="1314" y="227"/>
                  </a:lnTo>
                </a:path>
              </a:pathLst>
            </a:custGeom>
            <a:grpFill/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  <p:sp>
          <p:nvSpPr>
            <p:cNvPr id="20" name="Freeform 23"/>
            <p:cNvSpPr>
              <a:spLocks noChangeAspect="1"/>
            </p:cNvSpPr>
            <p:nvPr/>
          </p:nvSpPr>
          <p:spPr bwMode="auto">
            <a:xfrm>
              <a:off x="4500563" y="4149725"/>
              <a:ext cx="1890712" cy="1439863"/>
            </a:xfrm>
            <a:custGeom>
              <a:avLst/>
              <a:gdLst>
                <a:gd name="T0" fmla="*/ 2147483647 w 1192"/>
                <a:gd name="T1" fmla="*/ 2147483647 h 902"/>
                <a:gd name="T2" fmla="*/ 2147483647 w 1192"/>
                <a:gd name="T3" fmla="*/ 2147483647 h 902"/>
                <a:gd name="T4" fmla="*/ 2147483647 w 1192"/>
                <a:gd name="T5" fmla="*/ 2147483647 h 902"/>
                <a:gd name="T6" fmla="*/ 2147483647 w 1192"/>
                <a:gd name="T7" fmla="*/ 2147483647 h 902"/>
                <a:gd name="T8" fmla="*/ 2147483647 w 1192"/>
                <a:gd name="T9" fmla="*/ 2147483647 h 902"/>
                <a:gd name="T10" fmla="*/ 2147483647 w 1192"/>
                <a:gd name="T11" fmla="*/ 2147483647 h 902"/>
                <a:gd name="T12" fmla="*/ 2147483647 w 1192"/>
                <a:gd name="T13" fmla="*/ 2147483647 h 902"/>
                <a:gd name="T14" fmla="*/ 2147483647 w 1192"/>
                <a:gd name="T15" fmla="*/ 2147483647 h 902"/>
                <a:gd name="T16" fmla="*/ 2147483647 w 1192"/>
                <a:gd name="T17" fmla="*/ 2147483647 h 902"/>
                <a:gd name="T18" fmla="*/ 2147483647 w 1192"/>
                <a:gd name="T19" fmla="*/ 2147483647 h 902"/>
                <a:gd name="T20" fmla="*/ 2147483647 w 1192"/>
                <a:gd name="T21" fmla="*/ 2147483647 h 902"/>
                <a:gd name="T22" fmla="*/ 2147483647 w 1192"/>
                <a:gd name="T23" fmla="*/ 2147483647 h 902"/>
                <a:gd name="T24" fmla="*/ 2147483647 w 1192"/>
                <a:gd name="T25" fmla="*/ 2147483647 h 902"/>
                <a:gd name="T26" fmla="*/ 2147483647 w 1192"/>
                <a:gd name="T27" fmla="*/ 2147483647 h 902"/>
                <a:gd name="T28" fmla="*/ 2147483647 w 1192"/>
                <a:gd name="T29" fmla="*/ 2147483647 h 902"/>
                <a:gd name="T30" fmla="*/ 2147483647 w 1192"/>
                <a:gd name="T31" fmla="*/ 2147483647 h 902"/>
                <a:gd name="T32" fmla="*/ 2147483647 w 1192"/>
                <a:gd name="T33" fmla="*/ 2147483647 h 902"/>
                <a:gd name="T34" fmla="*/ 2147483647 w 1192"/>
                <a:gd name="T35" fmla="*/ 2147483647 h 902"/>
                <a:gd name="T36" fmla="*/ 2147483647 w 1192"/>
                <a:gd name="T37" fmla="*/ 2147483647 h 902"/>
                <a:gd name="T38" fmla="*/ 2147483647 w 1192"/>
                <a:gd name="T39" fmla="*/ 2147483647 h 902"/>
                <a:gd name="T40" fmla="*/ 2147483647 w 1192"/>
                <a:gd name="T41" fmla="*/ 2147483647 h 902"/>
                <a:gd name="T42" fmla="*/ 2147483647 w 1192"/>
                <a:gd name="T43" fmla="*/ 2147483647 h 902"/>
                <a:gd name="T44" fmla="*/ 2147483647 w 1192"/>
                <a:gd name="T45" fmla="*/ 2147483647 h 902"/>
                <a:gd name="T46" fmla="*/ 2147483647 w 1192"/>
                <a:gd name="T47" fmla="*/ 2147483647 h 902"/>
                <a:gd name="T48" fmla="*/ 2147483647 w 1192"/>
                <a:gd name="T49" fmla="*/ 2147483647 h 902"/>
                <a:gd name="T50" fmla="*/ 2147483647 w 1192"/>
                <a:gd name="T51" fmla="*/ 2147483647 h 902"/>
                <a:gd name="T52" fmla="*/ 2147483647 w 1192"/>
                <a:gd name="T53" fmla="*/ 2147483647 h 902"/>
                <a:gd name="T54" fmla="*/ 2147483647 w 1192"/>
                <a:gd name="T55" fmla="*/ 2147483647 h 902"/>
                <a:gd name="T56" fmla="*/ 2147483647 w 1192"/>
                <a:gd name="T57" fmla="*/ 2147483647 h 902"/>
                <a:gd name="T58" fmla="*/ 2147483647 w 1192"/>
                <a:gd name="T59" fmla="*/ 2147483647 h 902"/>
                <a:gd name="T60" fmla="*/ 2147483647 w 1192"/>
                <a:gd name="T61" fmla="*/ 2147483647 h 902"/>
                <a:gd name="T62" fmla="*/ 2147483647 w 1192"/>
                <a:gd name="T63" fmla="*/ 2147483647 h 902"/>
                <a:gd name="T64" fmla="*/ 2147483647 w 1192"/>
                <a:gd name="T65" fmla="*/ 2147483647 h 902"/>
                <a:gd name="T66" fmla="*/ 2147483647 w 1192"/>
                <a:gd name="T67" fmla="*/ 2147483647 h 902"/>
                <a:gd name="T68" fmla="*/ 2147483647 w 1192"/>
                <a:gd name="T69" fmla="*/ 2147483647 h 902"/>
                <a:gd name="T70" fmla="*/ 2147483647 w 1192"/>
                <a:gd name="T71" fmla="*/ 2147483647 h 902"/>
                <a:gd name="T72" fmla="*/ 2147483647 w 1192"/>
                <a:gd name="T73" fmla="*/ 2147483647 h 902"/>
                <a:gd name="T74" fmla="*/ 2147483647 w 1192"/>
                <a:gd name="T75" fmla="*/ 2147483647 h 902"/>
                <a:gd name="T76" fmla="*/ 2147483647 w 1192"/>
                <a:gd name="T77" fmla="*/ 2147483647 h 902"/>
                <a:gd name="T78" fmla="*/ 2147483647 w 1192"/>
                <a:gd name="T79" fmla="*/ 2147483647 h 902"/>
                <a:gd name="T80" fmla="*/ 2147483647 w 1192"/>
                <a:gd name="T81" fmla="*/ 2147483647 h 902"/>
                <a:gd name="T82" fmla="*/ 2147483647 w 1192"/>
                <a:gd name="T83" fmla="*/ 2147483647 h 902"/>
                <a:gd name="T84" fmla="*/ 2147483647 w 1192"/>
                <a:gd name="T85" fmla="*/ 2147483647 h 902"/>
                <a:gd name="T86" fmla="*/ 2147483647 w 1192"/>
                <a:gd name="T87" fmla="*/ 2147483647 h 902"/>
                <a:gd name="T88" fmla="*/ 2147483647 w 1192"/>
                <a:gd name="T89" fmla="*/ 2147483647 h 902"/>
                <a:gd name="T90" fmla="*/ 2147483647 w 1192"/>
                <a:gd name="T91" fmla="*/ 2147483647 h 902"/>
                <a:gd name="T92" fmla="*/ 2147483647 w 1192"/>
                <a:gd name="T93" fmla="*/ 2147483647 h 902"/>
                <a:gd name="T94" fmla="*/ 2147483647 w 1192"/>
                <a:gd name="T95" fmla="*/ 2147483647 h 902"/>
                <a:gd name="T96" fmla="*/ 2147483647 w 1192"/>
                <a:gd name="T97" fmla="*/ 2147483647 h 902"/>
                <a:gd name="T98" fmla="*/ 2147483647 w 1192"/>
                <a:gd name="T99" fmla="*/ 2147483647 h 902"/>
                <a:gd name="T100" fmla="*/ 2147483647 w 1192"/>
                <a:gd name="T101" fmla="*/ 2147483647 h 902"/>
                <a:gd name="T102" fmla="*/ 2147483647 w 1192"/>
                <a:gd name="T103" fmla="*/ 2147483647 h 902"/>
                <a:gd name="T104" fmla="*/ 2147483647 w 1192"/>
                <a:gd name="T105" fmla="*/ 2147483647 h 902"/>
                <a:gd name="T106" fmla="*/ 2147483647 w 1192"/>
                <a:gd name="T107" fmla="*/ 2147483647 h 902"/>
                <a:gd name="T108" fmla="*/ 2147483647 w 1192"/>
                <a:gd name="T109" fmla="*/ 2147483647 h 902"/>
                <a:gd name="T110" fmla="*/ 2147483647 w 1192"/>
                <a:gd name="T111" fmla="*/ 2147483647 h 902"/>
                <a:gd name="T112" fmla="*/ 2147483647 w 1192"/>
                <a:gd name="T113" fmla="*/ 2147483647 h 902"/>
                <a:gd name="T114" fmla="*/ 2147483647 w 1192"/>
                <a:gd name="T115" fmla="*/ 2147483647 h 902"/>
                <a:gd name="T116" fmla="*/ 2147483647 w 1192"/>
                <a:gd name="T117" fmla="*/ 2147483647 h 902"/>
                <a:gd name="T118" fmla="*/ 2147483647 w 1192"/>
                <a:gd name="T119" fmla="*/ 2147483647 h 902"/>
                <a:gd name="T120" fmla="*/ 2147483647 w 1192"/>
                <a:gd name="T121" fmla="*/ 2147483647 h 902"/>
                <a:gd name="T122" fmla="*/ 2147483647 w 1192"/>
                <a:gd name="T123" fmla="*/ 2147483647 h 902"/>
                <a:gd name="T124" fmla="*/ 2147483647 w 1192"/>
                <a:gd name="T125" fmla="*/ 2147483647 h 9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92"/>
                <a:gd name="T190" fmla="*/ 0 h 902"/>
                <a:gd name="T191" fmla="*/ 1192 w 1192"/>
                <a:gd name="T192" fmla="*/ 902 h 9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92" h="902">
                  <a:moveTo>
                    <a:pt x="816" y="45"/>
                  </a:moveTo>
                  <a:lnTo>
                    <a:pt x="826" y="53"/>
                  </a:lnTo>
                  <a:lnTo>
                    <a:pt x="837" y="60"/>
                  </a:lnTo>
                  <a:lnTo>
                    <a:pt x="847" y="65"/>
                  </a:lnTo>
                  <a:lnTo>
                    <a:pt x="857" y="69"/>
                  </a:lnTo>
                  <a:lnTo>
                    <a:pt x="867" y="72"/>
                  </a:lnTo>
                  <a:lnTo>
                    <a:pt x="879" y="74"/>
                  </a:lnTo>
                  <a:lnTo>
                    <a:pt x="890" y="75"/>
                  </a:lnTo>
                  <a:lnTo>
                    <a:pt x="902" y="74"/>
                  </a:lnTo>
                  <a:lnTo>
                    <a:pt x="896" y="67"/>
                  </a:lnTo>
                  <a:lnTo>
                    <a:pt x="889" y="60"/>
                  </a:lnTo>
                  <a:lnTo>
                    <a:pt x="896" y="55"/>
                  </a:lnTo>
                  <a:lnTo>
                    <a:pt x="899" y="48"/>
                  </a:lnTo>
                  <a:lnTo>
                    <a:pt x="902" y="42"/>
                  </a:lnTo>
                  <a:lnTo>
                    <a:pt x="904" y="35"/>
                  </a:lnTo>
                  <a:lnTo>
                    <a:pt x="904" y="26"/>
                  </a:lnTo>
                  <a:lnTo>
                    <a:pt x="902" y="18"/>
                  </a:lnTo>
                  <a:lnTo>
                    <a:pt x="899" y="10"/>
                  </a:lnTo>
                  <a:lnTo>
                    <a:pt x="894" y="0"/>
                  </a:lnTo>
                  <a:lnTo>
                    <a:pt x="912" y="25"/>
                  </a:lnTo>
                  <a:lnTo>
                    <a:pt x="931" y="48"/>
                  </a:lnTo>
                  <a:lnTo>
                    <a:pt x="941" y="64"/>
                  </a:lnTo>
                  <a:lnTo>
                    <a:pt x="949" y="79"/>
                  </a:lnTo>
                  <a:lnTo>
                    <a:pt x="959" y="94"/>
                  </a:lnTo>
                  <a:lnTo>
                    <a:pt x="970" y="109"/>
                  </a:lnTo>
                  <a:lnTo>
                    <a:pt x="968" y="112"/>
                  </a:lnTo>
                  <a:lnTo>
                    <a:pt x="965" y="116"/>
                  </a:lnTo>
                  <a:lnTo>
                    <a:pt x="959" y="112"/>
                  </a:lnTo>
                  <a:lnTo>
                    <a:pt x="954" y="107"/>
                  </a:lnTo>
                  <a:lnTo>
                    <a:pt x="951" y="111"/>
                  </a:lnTo>
                  <a:lnTo>
                    <a:pt x="946" y="112"/>
                  </a:lnTo>
                  <a:lnTo>
                    <a:pt x="939" y="112"/>
                  </a:lnTo>
                  <a:lnTo>
                    <a:pt x="933" y="112"/>
                  </a:lnTo>
                  <a:lnTo>
                    <a:pt x="927" y="124"/>
                  </a:lnTo>
                  <a:lnTo>
                    <a:pt x="924" y="134"/>
                  </a:lnTo>
                  <a:lnTo>
                    <a:pt x="931" y="134"/>
                  </a:lnTo>
                  <a:lnTo>
                    <a:pt x="938" y="133"/>
                  </a:lnTo>
                  <a:lnTo>
                    <a:pt x="939" y="128"/>
                  </a:lnTo>
                  <a:lnTo>
                    <a:pt x="941" y="122"/>
                  </a:lnTo>
                  <a:lnTo>
                    <a:pt x="943" y="121"/>
                  </a:lnTo>
                  <a:lnTo>
                    <a:pt x="946" y="121"/>
                  </a:lnTo>
                  <a:lnTo>
                    <a:pt x="946" y="126"/>
                  </a:lnTo>
                  <a:lnTo>
                    <a:pt x="946" y="131"/>
                  </a:lnTo>
                  <a:lnTo>
                    <a:pt x="953" y="131"/>
                  </a:lnTo>
                  <a:lnTo>
                    <a:pt x="958" y="131"/>
                  </a:lnTo>
                  <a:lnTo>
                    <a:pt x="965" y="134"/>
                  </a:lnTo>
                  <a:lnTo>
                    <a:pt x="971" y="138"/>
                  </a:lnTo>
                  <a:lnTo>
                    <a:pt x="975" y="138"/>
                  </a:lnTo>
                  <a:lnTo>
                    <a:pt x="980" y="138"/>
                  </a:lnTo>
                  <a:lnTo>
                    <a:pt x="976" y="131"/>
                  </a:lnTo>
                  <a:lnTo>
                    <a:pt x="975" y="122"/>
                  </a:lnTo>
                  <a:lnTo>
                    <a:pt x="976" y="119"/>
                  </a:lnTo>
                  <a:lnTo>
                    <a:pt x="976" y="117"/>
                  </a:lnTo>
                  <a:lnTo>
                    <a:pt x="986" y="134"/>
                  </a:lnTo>
                  <a:lnTo>
                    <a:pt x="995" y="153"/>
                  </a:lnTo>
                  <a:lnTo>
                    <a:pt x="1005" y="180"/>
                  </a:lnTo>
                  <a:lnTo>
                    <a:pt x="1012" y="205"/>
                  </a:lnTo>
                  <a:lnTo>
                    <a:pt x="1018" y="227"/>
                  </a:lnTo>
                  <a:lnTo>
                    <a:pt x="1020" y="244"/>
                  </a:lnTo>
                  <a:lnTo>
                    <a:pt x="1037" y="276"/>
                  </a:lnTo>
                  <a:lnTo>
                    <a:pt x="1054" y="303"/>
                  </a:lnTo>
                  <a:lnTo>
                    <a:pt x="1062" y="316"/>
                  </a:lnTo>
                  <a:lnTo>
                    <a:pt x="1072" y="328"/>
                  </a:lnTo>
                  <a:lnTo>
                    <a:pt x="1081" y="338"/>
                  </a:lnTo>
                  <a:lnTo>
                    <a:pt x="1092" y="348"/>
                  </a:lnTo>
                  <a:lnTo>
                    <a:pt x="1101" y="350"/>
                  </a:lnTo>
                  <a:lnTo>
                    <a:pt x="1108" y="350"/>
                  </a:lnTo>
                  <a:lnTo>
                    <a:pt x="1113" y="353"/>
                  </a:lnTo>
                  <a:lnTo>
                    <a:pt x="1118" y="355"/>
                  </a:lnTo>
                  <a:lnTo>
                    <a:pt x="1126" y="360"/>
                  </a:lnTo>
                  <a:lnTo>
                    <a:pt x="1133" y="365"/>
                  </a:lnTo>
                  <a:lnTo>
                    <a:pt x="1138" y="372"/>
                  </a:lnTo>
                  <a:lnTo>
                    <a:pt x="1141" y="377"/>
                  </a:lnTo>
                  <a:lnTo>
                    <a:pt x="1145" y="384"/>
                  </a:lnTo>
                  <a:lnTo>
                    <a:pt x="1146" y="389"/>
                  </a:lnTo>
                  <a:lnTo>
                    <a:pt x="1146" y="395"/>
                  </a:lnTo>
                  <a:lnTo>
                    <a:pt x="1146" y="402"/>
                  </a:lnTo>
                  <a:lnTo>
                    <a:pt x="1136" y="407"/>
                  </a:lnTo>
                  <a:lnTo>
                    <a:pt x="1126" y="412"/>
                  </a:lnTo>
                  <a:lnTo>
                    <a:pt x="1129" y="432"/>
                  </a:lnTo>
                  <a:lnTo>
                    <a:pt x="1135" y="453"/>
                  </a:lnTo>
                  <a:lnTo>
                    <a:pt x="1151" y="453"/>
                  </a:lnTo>
                  <a:lnTo>
                    <a:pt x="1168" y="453"/>
                  </a:lnTo>
                  <a:lnTo>
                    <a:pt x="1178" y="473"/>
                  </a:lnTo>
                  <a:lnTo>
                    <a:pt x="1188" y="493"/>
                  </a:lnTo>
                  <a:lnTo>
                    <a:pt x="1190" y="513"/>
                  </a:lnTo>
                  <a:lnTo>
                    <a:pt x="1192" y="535"/>
                  </a:lnTo>
                  <a:lnTo>
                    <a:pt x="1185" y="535"/>
                  </a:lnTo>
                  <a:lnTo>
                    <a:pt x="1177" y="535"/>
                  </a:lnTo>
                  <a:lnTo>
                    <a:pt x="1175" y="528"/>
                  </a:lnTo>
                  <a:lnTo>
                    <a:pt x="1170" y="523"/>
                  </a:lnTo>
                  <a:lnTo>
                    <a:pt x="1161" y="518"/>
                  </a:lnTo>
                  <a:lnTo>
                    <a:pt x="1146" y="517"/>
                  </a:lnTo>
                  <a:lnTo>
                    <a:pt x="1145" y="518"/>
                  </a:lnTo>
                  <a:lnTo>
                    <a:pt x="1145" y="520"/>
                  </a:lnTo>
                  <a:lnTo>
                    <a:pt x="1145" y="522"/>
                  </a:lnTo>
                  <a:lnTo>
                    <a:pt x="1146" y="525"/>
                  </a:lnTo>
                  <a:lnTo>
                    <a:pt x="1155" y="530"/>
                  </a:lnTo>
                  <a:lnTo>
                    <a:pt x="1173" y="538"/>
                  </a:lnTo>
                  <a:lnTo>
                    <a:pt x="1172" y="559"/>
                  </a:lnTo>
                  <a:lnTo>
                    <a:pt x="1170" y="579"/>
                  </a:lnTo>
                  <a:lnTo>
                    <a:pt x="1156" y="579"/>
                  </a:lnTo>
                  <a:lnTo>
                    <a:pt x="1141" y="581"/>
                  </a:lnTo>
                  <a:lnTo>
                    <a:pt x="1138" y="577"/>
                  </a:lnTo>
                  <a:lnTo>
                    <a:pt x="1135" y="574"/>
                  </a:lnTo>
                  <a:lnTo>
                    <a:pt x="1131" y="570"/>
                  </a:lnTo>
                  <a:lnTo>
                    <a:pt x="1126" y="569"/>
                  </a:lnTo>
                  <a:lnTo>
                    <a:pt x="1116" y="569"/>
                  </a:lnTo>
                  <a:lnTo>
                    <a:pt x="1104" y="569"/>
                  </a:lnTo>
                  <a:lnTo>
                    <a:pt x="1109" y="581"/>
                  </a:lnTo>
                  <a:lnTo>
                    <a:pt x="1116" y="591"/>
                  </a:lnTo>
                  <a:lnTo>
                    <a:pt x="1119" y="594"/>
                  </a:lnTo>
                  <a:lnTo>
                    <a:pt x="1123" y="597"/>
                  </a:lnTo>
                  <a:lnTo>
                    <a:pt x="1128" y="599"/>
                  </a:lnTo>
                  <a:lnTo>
                    <a:pt x="1133" y="597"/>
                  </a:lnTo>
                  <a:lnTo>
                    <a:pt x="1140" y="602"/>
                  </a:lnTo>
                  <a:lnTo>
                    <a:pt x="1146" y="609"/>
                  </a:lnTo>
                  <a:lnTo>
                    <a:pt x="1146" y="629"/>
                  </a:lnTo>
                  <a:lnTo>
                    <a:pt x="1146" y="650"/>
                  </a:lnTo>
                  <a:lnTo>
                    <a:pt x="1135" y="639"/>
                  </a:lnTo>
                  <a:lnTo>
                    <a:pt x="1123" y="628"/>
                  </a:lnTo>
                  <a:lnTo>
                    <a:pt x="1104" y="628"/>
                  </a:lnTo>
                  <a:lnTo>
                    <a:pt x="1087" y="628"/>
                  </a:lnTo>
                  <a:lnTo>
                    <a:pt x="1069" y="626"/>
                  </a:lnTo>
                  <a:lnTo>
                    <a:pt x="1050" y="621"/>
                  </a:lnTo>
                  <a:lnTo>
                    <a:pt x="1034" y="618"/>
                  </a:lnTo>
                  <a:lnTo>
                    <a:pt x="1015" y="611"/>
                  </a:lnTo>
                  <a:lnTo>
                    <a:pt x="998" y="606"/>
                  </a:lnTo>
                  <a:lnTo>
                    <a:pt x="981" y="597"/>
                  </a:lnTo>
                  <a:lnTo>
                    <a:pt x="965" y="597"/>
                  </a:lnTo>
                  <a:lnTo>
                    <a:pt x="949" y="597"/>
                  </a:lnTo>
                  <a:lnTo>
                    <a:pt x="934" y="597"/>
                  </a:lnTo>
                  <a:lnTo>
                    <a:pt x="917" y="597"/>
                  </a:lnTo>
                  <a:lnTo>
                    <a:pt x="917" y="592"/>
                  </a:lnTo>
                  <a:lnTo>
                    <a:pt x="917" y="587"/>
                  </a:lnTo>
                  <a:lnTo>
                    <a:pt x="921" y="584"/>
                  </a:lnTo>
                  <a:lnTo>
                    <a:pt x="924" y="581"/>
                  </a:lnTo>
                  <a:lnTo>
                    <a:pt x="922" y="575"/>
                  </a:lnTo>
                  <a:lnTo>
                    <a:pt x="922" y="572"/>
                  </a:lnTo>
                  <a:lnTo>
                    <a:pt x="917" y="569"/>
                  </a:lnTo>
                  <a:lnTo>
                    <a:pt x="914" y="567"/>
                  </a:lnTo>
                  <a:lnTo>
                    <a:pt x="909" y="567"/>
                  </a:lnTo>
                  <a:lnTo>
                    <a:pt x="902" y="569"/>
                  </a:lnTo>
                  <a:lnTo>
                    <a:pt x="901" y="572"/>
                  </a:lnTo>
                  <a:lnTo>
                    <a:pt x="897" y="577"/>
                  </a:lnTo>
                  <a:lnTo>
                    <a:pt x="899" y="581"/>
                  </a:lnTo>
                  <a:lnTo>
                    <a:pt x="899" y="586"/>
                  </a:lnTo>
                  <a:lnTo>
                    <a:pt x="902" y="587"/>
                  </a:lnTo>
                  <a:lnTo>
                    <a:pt x="907" y="589"/>
                  </a:lnTo>
                  <a:lnTo>
                    <a:pt x="907" y="594"/>
                  </a:lnTo>
                  <a:lnTo>
                    <a:pt x="909" y="601"/>
                  </a:lnTo>
                  <a:lnTo>
                    <a:pt x="889" y="602"/>
                  </a:lnTo>
                  <a:lnTo>
                    <a:pt x="869" y="606"/>
                  </a:lnTo>
                  <a:lnTo>
                    <a:pt x="870" y="597"/>
                  </a:lnTo>
                  <a:lnTo>
                    <a:pt x="870" y="591"/>
                  </a:lnTo>
                  <a:lnTo>
                    <a:pt x="870" y="579"/>
                  </a:lnTo>
                  <a:lnTo>
                    <a:pt x="870" y="567"/>
                  </a:lnTo>
                  <a:lnTo>
                    <a:pt x="869" y="562"/>
                  </a:lnTo>
                  <a:lnTo>
                    <a:pt x="867" y="557"/>
                  </a:lnTo>
                  <a:lnTo>
                    <a:pt x="867" y="552"/>
                  </a:lnTo>
                  <a:lnTo>
                    <a:pt x="867" y="547"/>
                  </a:lnTo>
                  <a:lnTo>
                    <a:pt x="872" y="547"/>
                  </a:lnTo>
                  <a:lnTo>
                    <a:pt x="877" y="547"/>
                  </a:lnTo>
                  <a:lnTo>
                    <a:pt x="880" y="550"/>
                  </a:lnTo>
                  <a:lnTo>
                    <a:pt x="882" y="555"/>
                  </a:lnTo>
                  <a:lnTo>
                    <a:pt x="882" y="537"/>
                  </a:lnTo>
                  <a:lnTo>
                    <a:pt x="880" y="520"/>
                  </a:lnTo>
                  <a:lnTo>
                    <a:pt x="874" y="523"/>
                  </a:lnTo>
                  <a:lnTo>
                    <a:pt x="867" y="525"/>
                  </a:lnTo>
                  <a:lnTo>
                    <a:pt x="862" y="532"/>
                  </a:lnTo>
                  <a:lnTo>
                    <a:pt x="857" y="537"/>
                  </a:lnTo>
                  <a:lnTo>
                    <a:pt x="857" y="542"/>
                  </a:lnTo>
                  <a:lnTo>
                    <a:pt x="857" y="545"/>
                  </a:lnTo>
                  <a:lnTo>
                    <a:pt x="857" y="557"/>
                  </a:lnTo>
                  <a:lnTo>
                    <a:pt x="857" y="567"/>
                  </a:lnTo>
                  <a:lnTo>
                    <a:pt x="848" y="567"/>
                  </a:lnTo>
                  <a:lnTo>
                    <a:pt x="840" y="567"/>
                  </a:lnTo>
                  <a:lnTo>
                    <a:pt x="837" y="560"/>
                  </a:lnTo>
                  <a:lnTo>
                    <a:pt x="837" y="554"/>
                  </a:lnTo>
                  <a:lnTo>
                    <a:pt x="837" y="547"/>
                  </a:lnTo>
                  <a:lnTo>
                    <a:pt x="840" y="540"/>
                  </a:lnTo>
                  <a:lnTo>
                    <a:pt x="825" y="528"/>
                  </a:lnTo>
                  <a:lnTo>
                    <a:pt x="808" y="517"/>
                  </a:lnTo>
                  <a:lnTo>
                    <a:pt x="808" y="527"/>
                  </a:lnTo>
                  <a:lnTo>
                    <a:pt x="808" y="537"/>
                  </a:lnTo>
                  <a:lnTo>
                    <a:pt x="813" y="542"/>
                  </a:lnTo>
                  <a:lnTo>
                    <a:pt x="816" y="545"/>
                  </a:lnTo>
                  <a:lnTo>
                    <a:pt x="820" y="549"/>
                  </a:lnTo>
                  <a:lnTo>
                    <a:pt x="821" y="554"/>
                  </a:lnTo>
                  <a:lnTo>
                    <a:pt x="821" y="559"/>
                  </a:lnTo>
                  <a:lnTo>
                    <a:pt x="820" y="562"/>
                  </a:lnTo>
                  <a:lnTo>
                    <a:pt x="816" y="567"/>
                  </a:lnTo>
                  <a:lnTo>
                    <a:pt x="813" y="572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0" y="586"/>
                  </a:lnTo>
                  <a:lnTo>
                    <a:pt x="815" y="592"/>
                  </a:lnTo>
                  <a:lnTo>
                    <a:pt x="823" y="592"/>
                  </a:lnTo>
                  <a:lnTo>
                    <a:pt x="826" y="594"/>
                  </a:lnTo>
                  <a:lnTo>
                    <a:pt x="828" y="599"/>
                  </a:lnTo>
                  <a:lnTo>
                    <a:pt x="825" y="606"/>
                  </a:lnTo>
                  <a:lnTo>
                    <a:pt x="843" y="607"/>
                  </a:lnTo>
                  <a:lnTo>
                    <a:pt x="862" y="609"/>
                  </a:lnTo>
                  <a:lnTo>
                    <a:pt x="840" y="618"/>
                  </a:lnTo>
                  <a:lnTo>
                    <a:pt x="820" y="628"/>
                  </a:lnTo>
                  <a:lnTo>
                    <a:pt x="803" y="639"/>
                  </a:lnTo>
                  <a:lnTo>
                    <a:pt x="788" y="653"/>
                  </a:lnTo>
                  <a:lnTo>
                    <a:pt x="774" y="660"/>
                  </a:lnTo>
                  <a:lnTo>
                    <a:pt x="763" y="668"/>
                  </a:lnTo>
                  <a:lnTo>
                    <a:pt x="757" y="673"/>
                  </a:lnTo>
                  <a:lnTo>
                    <a:pt x="754" y="678"/>
                  </a:lnTo>
                  <a:lnTo>
                    <a:pt x="751" y="683"/>
                  </a:lnTo>
                  <a:lnTo>
                    <a:pt x="749" y="690"/>
                  </a:lnTo>
                  <a:lnTo>
                    <a:pt x="737" y="707"/>
                  </a:lnTo>
                  <a:lnTo>
                    <a:pt x="725" y="719"/>
                  </a:lnTo>
                  <a:lnTo>
                    <a:pt x="719" y="722"/>
                  </a:lnTo>
                  <a:lnTo>
                    <a:pt x="714" y="725"/>
                  </a:lnTo>
                  <a:lnTo>
                    <a:pt x="707" y="727"/>
                  </a:lnTo>
                  <a:lnTo>
                    <a:pt x="700" y="727"/>
                  </a:lnTo>
                  <a:lnTo>
                    <a:pt x="683" y="737"/>
                  </a:lnTo>
                  <a:lnTo>
                    <a:pt x="667" y="746"/>
                  </a:lnTo>
                  <a:lnTo>
                    <a:pt x="653" y="757"/>
                  </a:lnTo>
                  <a:lnTo>
                    <a:pt x="640" y="767"/>
                  </a:lnTo>
                  <a:lnTo>
                    <a:pt x="626" y="779"/>
                  </a:lnTo>
                  <a:lnTo>
                    <a:pt x="616" y="793"/>
                  </a:lnTo>
                  <a:lnTo>
                    <a:pt x="606" y="805"/>
                  </a:lnTo>
                  <a:lnTo>
                    <a:pt x="596" y="818"/>
                  </a:lnTo>
                  <a:lnTo>
                    <a:pt x="581" y="830"/>
                  </a:lnTo>
                  <a:lnTo>
                    <a:pt x="564" y="842"/>
                  </a:lnTo>
                  <a:lnTo>
                    <a:pt x="549" y="853"/>
                  </a:lnTo>
                  <a:lnTo>
                    <a:pt x="534" y="867"/>
                  </a:lnTo>
                  <a:lnTo>
                    <a:pt x="535" y="862"/>
                  </a:lnTo>
                  <a:lnTo>
                    <a:pt x="537" y="857"/>
                  </a:lnTo>
                  <a:lnTo>
                    <a:pt x="529" y="857"/>
                  </a:lnTo>
                  <a:lnTo>
                    <a:pt x="522" y="855"/>
                  </a:lnTo>
                  <a:lnTo>
                    <a:pt x="515" y="850"/>
                  </a:lnTo>
                  <a:lnTo>
                    <a:pt x="510" y="845"/>
                  </a:lnTo>
                  <a:lnTo>
                    <a:pt x="507" y="847"/>
                  </a:lnTo>
                  <a:lnTo>
                    <a:pt x="503" y="848"/>
                  </a:lnTo>
                  <a:lnTo>
                    <a:pt x="515" y="858"/>
                  </a:lnTo>
                  <a:lnTo>
                    <a:pt x="527" y="869"/>
                  </a:lnTo>
                  <a:lnTo>
                    <a:pt x="525" y="875"/>
                  </a:lnTo>
                  <a:lnTo>
                    <a:pt x="524" y="880"/>
                  </a:lnTo>
                  <a:lnTo>
                    <a:pt x="520" y="885"/>
                  </a:lnTo>
                  <a:lnTo>
                    <a:pt x="515" y="889"/>
                  </a:lnTo>
                  <a:lnTo>
                    <a:pt x="507" y="895"/>
                  </a:lnTo>
                  <a:lnTo>
                    <a:pt x="495" y="902"/>
                  </a:lnTo>
                  <a:lnTo>
                    <a:pt x="486" y="901"/>
                  </a:lnTo>
                  <a:lnTo>
                    <a:pt x="478" y="899"/>
                  </a:lnTo>
                  <a:lnTo>
                    <a:pt x="478" y="889"/>
                  </a:lnTo>
                  <a:lnTo>
                    <a:pt x="476" y="879"/>
                  </a:lnTo>
                  <a:lnTo>
                    <a:pt x="475" y="870"/>
                  </a:lnTo>
                  <a:lnTo>
                    <a:pt x="473" y="862"/>
                  </a:lnTo>
                  <a:lnTo>
                    <a:pt x="471" y="853"/>
                  </a:lnTo>
                  <a:lnTo>
                    <a:pt x="466" y="847"/>
                  </a:lnTo>
                  <a:lnTo>
                    <a:pt x="460" y="842"/>
                  </a:lnTo>
                  <a:lnTo>
                    <a:pt x="451" y="837"/>
                  </a:lnTo>
                  <a:lnTo>
                    <a:pt x="444" y="835"/>
                  </a:lnTo>
                  <a:lnTo>
                    <a:pt x="438" y="833"/>
                  </a:lnTo>
                  <a:lnTo>
                    <a:pt x="433" y="830"/>
                  </a:lnTo>
                  <a:lnTo>
                    <a:pt x="428" y="826"/>
                  </a:lnTo>
                  <a:lnTo>
                    <a:pt x="423" y="823"/>
                  </a:lnTo>
                  <a:lnTo>
                    <a:pt x="419" y="820"/>
                  </a:lnTo>
                  <a:lnTo>
                    <a:pt x="416" y="816"/>
                  </a:lnTo>
                  <a:lnTo>
                    <a:pt x="414" y="811"/>
                  </a:lnTo>
                  <a:lnTo>
                    <a:pt x="412" y="803"/>
                  </a:lnTo>
                  <a:lnTo>
                    <a:pt x="412" y="794"/>
                  </a:lnTo>
                  <a:lnTo>
                    <a:pt x="399" y="788"/>
                  </a:lnTo>
                  <a:lnTo>
                    <a:pt x="389" y="783"/>
                  </a:lnTo>
                  <a:lnTo>
                    <a:pt x="382" y="778"/>
                  </a:lnTo>
                  <a:lnTo>
                    <a:pt x="377" y="773"/>
                  </a:lnTo>
                  <a:lnTo>
                    <a:pt x="377" y="769"/>
                  </a:lnTo>
                  <a:lnTo>
                    <a:pt x="377" y="766"/>
                  </a:lnTo>
                  <a:lnTo>
                    <a:pt x="379" y="764"/>
                  </a:lnTo>
                  <a:lnTo>
                    <a:pt x="380" y="761"/>
                  </a:lnTo>
                  <a:lnTo>
                    <a:pt x="387" y="756"/>
                  </a:lnTo>
                  <a:lnTo>
                    <a:pt x="399" y="749"/>
                  </a:lnTo>
                  <a:lnTo>
                    <a:pt x="406" y="739"/>
                  </a:lnTo>
                  <a:lnTo>
                    <a:pt x="411" y="730"/>
                  </a:lnTo>
                  <a:lnTo>
                    <a:pt x="409" y="727"/>
                  </a:lnTo>
                  <a:lnTo>
                    <a:pt x="407" y="724"/>
                  </a:lnTo>
                  <a:lnTo>
                    <a:pt x="404" y="722"/>
                  </a:lnTo>
                  <a:lnTo>
                    <a:pt x="397" y="719"/>
                  </a:lnTo>
                  <a:lnTo>
                    <a:pt x="382" y="714"/>
                  </a:lnTo>
                  <a:lnTo>
                    <a:pt x="365" y="709"/>
                  </a:lnTo>
                  <a:lnTo>
                    <a:pt x="355" y="705"/>
                  </a:lnTo>
                  <a:lnTo>
                    <a:pt x="347" y="703"/>
                  </a:lnTo>
                  <a:lnTo>
                    <a:pt x="337" y="705"/>
                  </a:lnTo>
                  <a:lnTo>
                    <a:pt x="328" y="707"/>
                  </a:lnTo>
                  <a:lnTo>
                    <a:pt x="310" y="720"/>
                  </a:lnTo>
                  <a:lnTo>
                    <a:pt x="291" y="734"/>
                  </a:lnTo>
                  <a:lnTo>
                    <a:pt x="273" y="747"/>
                  </a:lnTo>
                  <a:lnTo>
                    <a:pt x="254" y="761"/>
                  </a:lnTo>
                  <a:lnTo>
                    <a:pt x="244" y="767"/>
                  </a:lnTo>
                  <a:lnTo>
                    <a:pt x="234" y="773"/>
                  </a:lnTo>
                  <a:lnTo>
                    <a:pt x="229" y="773"/>
                  </a:lnTo>
                  <a:lnTo>
                    <a:pt x="224" y="771"/>
                  </a:lnTo>
                  <a:lnTo>
                    <a:pt x="219" y="766"/>
                  </a:lnTo>
                  <a:lnTo>
                    <a:pt x="214" y="759"/>
                  </a:lnTo>
                  <a:lnTo>
                    <a:pt x="207" y="749"/>
                  </a:lnTo>
                  <a:lnTo>
                    <a:pt x="200" y="744"/>
                  </a:lnTo>
                  <a:lnTo>
                    <a:pt x="195" y="741"/>
                  </a:lnTo>
                  <a:lnTo>
                    <a:pt x="190" y="741"/>
                  </a:lnTo>
                  <a:lnTo>
                    <a:pt x="180" y="746"/>
                  </a:lnTo>
                  <a:lnTo>
                    <a:pt x="172" y="756"/>
                  </a:lnTo>
                  <a:lnTo>
                    <a:pt x="168" y="761"/>
                  </a:lnTo>
                  <a:lnTo>
                    <a:pt x="163" y="764"/>
                  </a:lnTo>
                  <a:lnTo>
                    <a:pt x="158" y="766"/>
                  </a:lnTo>
                  <a:lnTo>
                    <a:pt x="153" y="767"/>
                  </a:lnTo>
                  <a:lnTo>
                    <a:pt x="150" y="766"/>
                  </a:lnTo>
                  <a:lnTo>
                    <a:pt x="145" y="766"/>
                  </a:lnTo>
                  <a:lnTo>
                    <a:pt x="140" y="762"/>
                  </a:lnTo>
                  <a:lnTo>
                    <a:pt x="135" y="761"/>
                  </a:lnTo>
                  <a:lnTo>
                    <a:pt x="131" y="754"/>
                  </a:lnTo>
                  <a:lnTo>
                    <a:pt x="126" y="751"/>
                  </a:lnTo>
                  <a:lnTo>
                    <a:pt x="121" y="751"/>
                  </a:lnTo>
                  <a:lnTo>
                    <a:pt x="116" y="751"/>
                  </a:lnTo>
                  <a:lnTo>
                    <a:pt x="111" y="752"/>
                  </a:lnTo>
                  <a:lnTo>
                    <a:pt x="104" y="757"/>
                  </a:lnTo>
                  <a:lnTo>
                    <a:pt x="99" y="764"/>
                  </a:lnTo>
                  <a:lnTo>
                    <a:pt x="93" y="773"/>
                  </a:lnTo>
                  <a:lnTo>
                    <a:pt x="81" y="779"/>
                  </a:lnTo>
                  <a:lnTo>
                    <a:pt x="69" y="786"/>
                  </a:lnTo>
                  <a:lnTo>
                    <a:pt x="59" y="791"/>
                  </a:lnTo>
                  <a:lnTo>
                    <a:pt x="49" y="794"/>
                  </a:lnTo>
                  <a:lnTo>
                    <a:pt x="32" y="798"/>
                  </a:lnTo>
                  <a:lnTo>
                    <a:pt x="15" y="799"/>
                  </a:lnTo>
                  <a:lnTo>
                    <a:pt x="8" y="799"/>
                  </a:lnTo>
                  <a:lnTo>
                    <a:pt x="0" y="799"/>
                  </a:lnTo>
                  <a:lnTo>
                    <a:pt x="20" y="773"/>
                  </a:lnTo>
                  <a:lnTo>
                    <a:pt x="40" y="747"/>
                  </a:lnTo>
                  <a:lnTo>
                    <a:pt x="52" y="735"/>
                  </a:lnTo>
                  <a:lnTo>
                    <a:pt x="62" y="725"/>
                  </a:lnTo>
                  <a:lnTo>
                    <a:pt x="74" y="717"/>
                  </a:lnTo>
                  <a:lnTo>
                    <a:pt x="84" y="709"/>
                  </a:lnTo>
                  <a:lnTo>
                    <a:pt x="93" y="700"/>
                  </a:lnTo>
                  <a:lnTo>
                    <a:pt x="101" y="695"/>
                  </a:lnTo>
                  <a:lnTo>
                    <a:pt x="104" y="693"/>
                  </a:lnTo>
                  <a:lnTo>
                    <a:pt x="108" y="692"/>
                  </a:lnTo>
                  <a:lnTo>
                    <a:pt x="113" y="693"/>
                  </a:lnTo>
                  <a:lnTo>
                    <a:pt x="116" y="693"/>
                  </a:lnTo>
                  <a:lnTo>
                    <a:pt x="123" y="693"/>
                  </a:lnTo>
                  <a:lnTo>
                    <a:pt x="128" y="690"/>
                  </a:lnTo>
                  <a:lnTo>
                    <a:pt x="131" y="687"/>
                  </a:lnTo>
                  <a:lnTo>
                    <a:pt x="135" y="682"/>
                  </a:lnTo>
                  <a:lnTo>
                    <a:pt x="136" y="673"/>
                  </a:lnTo>
                  <a:lnTo>
                    <a:pt x="140" y="668"/>
                  </a:lnTo>
                  <a:lnTo>
                    <a:pt x="141" y="665"/>
                  </a:lnTo>
                  <a:lnTo>
                    <a:pt x="145" y="665"/>
                  </a:lnTo>
                  <a:lnTo>
                    <a:pt x="150" y="666"/>
                  </a:lnTo>
                  <a:lnTo>
                    <a:pt x="157" y="673"/>
                  </a:lnTo>
                  <a:lnTo>
                    <a:pt x="170" y="673"/>
                  </a:lnTo>
                  <a:lnTo>
                    <a:pt x="182" y="673"/>
                  </a:lnTo>
                  <a:lnTo>
                    <a:pt x="195" y="673"/>
                  </a:lnTo>
                  <a:lnTo>
                    <a:pt x="207" y="673"/>
                  </a:lnTo>
                  <a:lnTo>
                    <a:pt x="214" y="673"/>
                  </a:lnTo>
                  <a:lnTo>
                    <a:pt x="219" y="671"/>
                  </a:lnTo>
                  <a:lnTo>
                    <a:pt x="222" y="668"/>
                  </a:lnTo>
                  <a:lnTo>
                    <a:pt x="224" y="666"/>
                  </a:lnTo>
                  <a:lnTo>
                    <a:pt x="226" y="663"/>
                  </a:lnTo>
                  <a:lnTo>
                    <a:pt x="226" y="658"/>
                  </a:lnTo>
                  <a:lnTo>
                    <a:pt x="224" y="653"/>
                  </a:lnTo>
                  <a:lnTo>
                    <a:pt x="222" y="648"/>
                  </a:lnTo>
                  <a:lnTo>
                    <a:pt x="217" y="641"/>
                  </a:lnTo>
                  <a:lnTo>
                    <a:pt x="215" y="636"/>
                  </a:lnTo>
                  <a:lnTo>
                    <a:pt x="217" y="631"/>
                  </a:lnTo>
                  <a:lnTo>
                    <a:pt x="221" y="628"/>
                  </a:lnTo>
                  <a:lnTo>
                    <a:pt x="226" y="619"/>
                  </a:lnTo>
                  <a:lnTo>
                    <a:pt x="227" y="609"/>
                  </a:lnTo>
                  <a:lnTo>
                    <a:pt x="227" y="599"/>
                  </a:lnTo>
                  <a:lnTo>
                    <a:pt x="227" y="587"/>
                  </a:lnTo>
                  <a:lnTo>
                    <a:pt x="226" y="584"/>
                  </a:lnTo>
                  <a:lnTo>
                    <a:pt x="226" y="581"/>
                  </a:lnTo>
                  <a:lnTo>
                    <a:pt x="226" y="577"/>
                  </a:lnTo>
                  <a:lnTo>
                    <a:pt x="227" y="575"/>
                  </a:lnTo>
                  <a:lnTo>
                    <a:pt x="231" y="574"/>
                  </a:lnTo>
                  <a:lnTo>
                    <a:pt x="234" y="574"/>
                  </a:lnTo>
                  <a:lnTo>
                    <a:pt x="237" y="575"/>
                  </a:lnTo>
                  <a:lnTo>
                    <a:pt x="241" y="579"/>
                  </a:lnTo>
                  <a:lnTo>
                    <a:pt x="249" y="579"/>
                  </a:lnTo>
                  <a:lnTo>
                    <a:pt x="254" y="579"/>
                  </a:lnTo>
                  <a:lnTo>
                    <a:pt x="258" y="577"/>
                  </a:lnTo>
                  <a:lnTo>
                    <a:pt x="258" y="575"/>
                  </a:lnTo>
                  <a:lnTo>
                    <a:pt x="258" y="572"/>
                  </a:lnTo>
                  <a:lnTo>
                    <a:pt x="254" y="567"/>
                  </a:lnTo>
                  <a:lnTo>
                    <a:pt x="251" y="564"/>
                  </a:lnTo>
                  <a:lnTo>
                    <a:pt x="249" y="560"/>
                  </a:lnTo>
                  <a:lnTo>
                    <a:pt x="249" y="557"/>
                  </a:lnTo>
                  <a:lnTo>
                    <a:pt x="249" y="555"/>
                  </a:lnTo>
                  <a:lnTo>
                    <a:pt x="254" y="552"/>
                  </a:lnTo>
                  <a:lnTo>
                    <a:pt x="264" y="552"/>
                  </a:lnTo>
                  <a:lnTo>
                    <a:pt x="271" y="549"/>
                  </a:lnTo>
                  <a:lnTo>
                    <a:pt x="278" y="545"/>
                  </a:lnTo>
                  <a:lnTo>
                    <a:pt x="281" y="535"/>
                  </a:lnTo>
                  <a:lnTo>
                    <a:pt x="283" y="533"/>
                  </a:lnTo>
                  <a:lnTo>
                    <a:pt x="286" y="535"/>
                  </a:lnTo>
                  <a:lnTo>
                    <a:pt x="290" y="543"/>
                  </a:lnTo>
                  <a:lnTo>
                    <a:pt x="295" y="554"/>
                  </a:lnTo>
                  <a:lnTo>
                    <a:pt x="298" y="559"/>
                  </a:lnTo>
                  <a:lnTo>
                    <a:pt x="301" y="557"/>
                  </a:lnTo>
                  <a:lnTo>
                    <a:pt x="303" y="549"/>
                  </a:lnTo>
                  <a:lnTo>
                    <a:pt x="303" y="540"/>
                  </a:lnTo>
                  <a:lnTo>
                    <a:pt x="305" y="533"/>
                  </a:lnTo>
                  <a:lnTo>
                    <a:pt x="306" y="528"/>
                  </a:lnTo>
                  <a:lnTo>
                    <a:pt x="308" y="527"/>
                  </a:lnTo>
                  <a:lnTo>
                    <a:pt x="313" y="525"/>
                  </a:lnTo>
                  <a:lnTo>
                    <a:pt x="316" y="525"/>
                  </a:lnTo>
                  <a:lnTo>
                    <a:pt x="322" y="528"/>
                  </a:lnTo>
                  <a:lnTo>
                    <a:pt x="328" y="532"/>
                  </a:lnTo>
                  <a:lnTo>
                    <a:pt x="333" y="545"/>
                  </a:lnTo>
                  <a:lnTo>
                    <a:pt x="340" y="557"/>
                  </a:lnTo>
                  <a:lnTo>
                    <a:pt x="342" y="562"/>
                  </a:lnTo>
                  <a:lnTo>
                    <a:pt x="343" y="564"/>
                  </a:lnTo>
                  <a:lnTo>
                    <a:pt x="347" y="565"/>
                  </a:lnTo>
                  <a:lnTo>
                    <a:pt x="348" y="567"/>
                  </a:lnTo>
                  <a:lnTo>
                    <a:pt x="353" y="564"/>
                  </a:lnTo>
                  <a:lnTo>
                    <a:pt x="360" y="557"/>
                  </a:lnTo>
                  <a:lnTo>
                    <a:pt x="362" y="547"/>
                  </a:lnTo>
                  <a:lnTo>
                    <a:pt x="365" y="540"/>
                  </a:lnTo>
                  <a:lnTo>
                    <a:pt x="369" y="535"/>
                  </a:lnTo>
                  <a:lnTo>
                    <a:pt x="372" y="532"/>
                  </a:lnTo>
                  <a:lnTo>
                    <a:pt x="375" y="528"/>
                  </a:lnTo>
                  <a:lnTo>
                    <a:pt x="380" y="528"/>
                  </a:lnTo>
                  <a:lnTo>
                    <a:pt x="387" y="528"/>
                  </a:lnTo>
                  <a:lnTo>
                    <a:pt x="392" y="530"/>
                  </a:lnTo>
                  <a:lnTo>
                    <a:pt x="401" y="532"/>
                  </a:lnTo>
                  <a:lnTo>
                    <a:pt x="407" y="530"/>
                  </a:lnTo>
                  <a:lnTo>
                    <a:pt x="416" y="528"/>
                  </a:lnTo>
                  <a:lnTo>
                    <a:pt x="424" y="523"/>
                  </a:lnTo>
                  <a:lnTo>
                    <a:pt x="431" y="518"/>
                  </a:lnTo>
                  <a:lnTo>
                    <a:pt x="438" y="515"/>
                  </a:lnTo>
                  <a:lnTo>
                    <a:pt x="444" y="517"/>
                  </a:lnTo>
                  <a:lnTo>
                    <a:pt x="453" y="520"/>
                  </a:lnTo>
                  <a:lnTo>
                    <a:pt x="466" y="522"/>
                  </a:lnTo>
                  <a:lnTo>
                    <a:pt x="480" y="522"/>
                  </a:lnTo>
                  <a:lnTo>
                    <a:pt x="492" y="522"/>
                  </a:lnTo>
                  <a:lnTo>
                    <a:pt x="503" y="520"/>
                  </a:lnTo>
                  <a:lnTo>
                    <a:pt x="512" y="517"/>
                  </a:lnTo>
                  <a:lnTo>
                    <a:pt x="518" y="515"/>
                  </a:lnTo>
                  <a:lnTo>
                    <a:pt x="524" y="510"/>
                  </a:lnTo>
                  <a:lnTo>
                    <a:pt x="525" y="506"/>
                  </a:lnTo>
                  <a:lnTo>
                    <a:pt x="527" y="495"/>
                  </a:lnTo>
                  <a:lnTo>
                    <a:pt x="529" y="488"/>
                  </a:lnTo>
                  <a:lnTo>
                    <a:pt x="532" y="481"/>
                  </a:lnTo>
                  <a:lnTo>
                    <a:pt x="537" y="478"/>
                  </a:lnTo>
                  <a:lnTo>
                    <a:pt x="542" y="476"/>
                  </a:lnTo>
                  <a:lnTo>
                    <a:pt x="547" y="476"/>
                  </a:lnTo>
                  <a:lnTo>
                    <a:pt x="552" y="479"/>
                  </a:lnTo>
                  <a:lnTo>
                    <a:pt x="559" y="483"/>
                  </a:lnTo>
                  <a:lnTo>
                    <a:pt x="567" y="485"/>
                  </a:lnTo>
                  <a:lnTo>
                    <a:pt x="574" y="483"/>
                  </a:lnTo>
                  <a:lnTo>
                    <a:pt x="581" y="481"/>
                  </a:lnTo>
                  <a:lnTo>
                    <a:pt x="586" y="478"/>
                  </a:lnTo>
                  <a:lnTo>
                    <a:pt x="589" y="474"/>
                  </a:lnTo>
                  <a:lnTo>
                    <a:pt x="593" y="468"/>
                  </a:lnTo>
                  <a:lnTo>
                    <a:pt x="594" y="461"/>
                  </a:lnTo>
                  <a:lnTo>
                    <a:pt x="598" y="453"/>
                  </a:lnTo>
                  <a:lnTo>
                    <a:pt x="598" y="441"/>
                  </a:lnTo>
                  <a:lnTo>
                    <a:pt x="598" y="431"/>
                  </a:lnTo>
                  <a:lnTo>
                    <a:pt x="601" y="421"/>
                  </a:lnTo>
                  <a:lnTo>
                    <a:pt x="604" y="414"/>
                  </a:lnTo>
                  <a:lnTo>
                    <a:pt x="608" y="409"/>
                  </a:lnTo>
                  <a:lnTo>
                    <a:pt x="614" y="405"/>
                  </a:lnTo>
                  <a:lnTo>
                    <a:pt x="621" y="404"/>
                  </a:lnTo>
                  <a:lnTo>
                    <a:pt x="630" y="404"/>
                  </a:lnTo>
                  <a:lnTo>
                    <a:pt x="641" y="402"/>
                  </a:lnTo>
                  <a:lnTo>
                    <a:pt x="651" y="402"/>
                  </a:lnTo>
                  <a:lnTo>
                    <a:pt x="660" y="404"/>
                  </a:lnTo>
                  <a:lnTo>
                    <a:pt x="665" y="409"/>
                  </a:lnTo>
                  <a:lnTo>
                    <a:pt x="668" y="414"/>
                  </a:lnTo>
                  <a:lnTo>
                    <a:pt x="670" y="421"/>
                  </a:lnTo>
                  <a:lnTo>
                    <a:pt x="672" y="429"/>
                  </a:lnTo>
                  <a:lnTo>
                    <a:pt x="670" y="439"/>
                  </a:lnTo>
                  <a:lnTo>
                    <a:pt x="656" y="454"/>
                  </a:lnTo>
                  <a:lnTo>
                    <a:pt x="643" y="468"/>
                  </a:lnTo>
                  <a:lnTo>
                    <a:pt x="641" y="473"/>
                  </a:lnTo>
                  <a:lnTo>
                    <a:pt x="640" y="478"/>
                  </a:lnTo>
                  <a:lnTo>
                    <a:pt x="640" y="481"/>
                  </a:lnTo>
                  <a:lnTo>
                    <a:pt x="641" y="483"/>
                  </a:lnTo>
                  <a:lnTo>
                    <a:pt x="643" y="485"/>
                  </a:lnTo>
                  <a:lnTo>
                    <a:pt x="646" y="486"/>
                  </a:lnTo>
                  <a:lnTo>
                    <a:pt x="650" y="486"/>
                  </a:lnTo>
                  <a:lnTo>
                    <a:pt x="656" y="486"/>
                  </a:lnTo>
                  <a:lnTo>
                    <a:pt x="675" y="481"/>
                  </a:lnTo>
                  <a:lnTo>
                    <a:pt x="694" y="478"/>
                  </a:lnTo>
                  <a:lnTo>
                    <a:pt x="697" y="474"/>
                  </a:lnTo>
                  <a:lnTo>
                    <a:pt x="702" y="473"/>
                  </a:lnTo>
                  <a:lnTo>
                    <a:pt x="705" y="473"/>
                  </a:lnTo>
                  <a:lnTo>
                    <a:pt x="710" y="474"/>
                  </a:lnTo>
                  <a:lnTo>
                    <a:pt x="717" y="478"/>
                  </a:lnTo>
                  <a:lnTo>
                    <a:pt x="725" y="485"/>
                  </a:lnTo>
                  <a:lnTo>
                    <a:pt x="729" y="490"/>
                  </a:lnTo>
                  <a:lnTo>
                    <a:pt x="732" y="493"/>
                  </a:lnTo>
                  <a:lnTo>
                    <a:pt x="734" y="496"/>
                  </a:lnTo>
                  <a:lnTo>
                    <a:pt x="737" y="498"/>
                  </a:lnTo>
                  <a:lnTo>
                    <a:pt x="741" y="498"/>
                  </a:lnTo>
                  <a:lnTo>
                    <a:pt x="744" y="496"/>
                  </a:lnTo>
                  <a:lnTo>
                    <a:pt x="747" y="493"/>
                  </a:lnTo>
                  <a:lnTo>
                    <a:pt x="751" y="491"/>
                  </a:lnTo>
                  <a:lnTo>
                    <a:pt x="763" y="478"/>
                  </a:lnTo>
                  <a:lnTo>
                    <a:pt x="776" y="464"/>
                  </a:lnTo>
                  <a:lnTo>
                    <a:pt x="776" y="451"/>
                  </a:lnTo>
                  <a:lnTo>
                    <a:pt x="778" y="441"/>
                  </a:lnTo>
                  <a:lnTo>
                    <a:pt x="779" y="436"/>
                  </a:lnTo>
                  <a:lnTo>
                    <a:pt x="781" y="434"/>
                  </a:lnTo>
                  <a:lnTo>
                    <a:pt x="784" y="432"/>
                  </a:lnTo>
                  <a:lnTo>
                    <a:pt x="788" y="434"/>
                  </a:lnTo>
                  <a:lnTo>
                    <a:pt x="803" y="437"/>
                  </a:lnTo>
                  <a:lnTo>
                    <a:pt x="820" y="442"/>
                  </a:lnTo>
                  <a:lnTo>
                    <a:pt x="828" y="444"/>
                  </a:lnTo>
                  <a:lnTo>
                    <a:pt x="838" y="444"/>
                  </a:lnTo>
                  <a:lnTo>
                    <a:pt x="842" y="444"/>
                  </a:lnTo>
                  <a:lnTo>
                    <a:pt x="845" y="441"/>
                  </a:lnTo>
                  <a:lnTo>
                    <a:pt x="848" y="437"/>
                  </a:lnTo>
                  <a:lnTo>
                    <a:pt x="852" y="434"/>
                  </a:lnTo>
                  <a:lnTo>
                    <a:pt x="857" y="426"/>
                  </a:lnTo>
                  <a:lnTo>
                    <a:pt x="862" y="416"/>
                  </a:lnTo>
                  <a:lnTo>
                    <a:pt x="864" y="407"/>
                  </a:lnTo>
                  <a:lnTo>
                    <a:pt x="864" y="397"/>
                  </a:lnTo>
                  <a:lnTo>
                    <a:pt x="862" y="387"/>
                  </a:lnTo>
                  <a:lnTo>
                    <a:pt x="858" y="378"/>
                  </a:lnTo>
                  <a:lnTo>
                    <a:pt x="855" y="367"/>
                  </a:lnTo>
                  <a:lnTo>
                    <a:pt x="850" y="357"/>
                  </a:lnTo>
                  <a:lnTo>
                    <a:pt x="837" y="328"/>
                  </a:lnTo>
                  <a:lnTo>
                    <a:pt x="828" y="299"/>
                  </a:lnTo>
                  <a:lnTo>
                    <a:pt x="825" y="286"/>
                  </a:lnTo>
                  <a:lnTo>
                    <a:pt x="823" y="272"/>
                  </a:lnTo>
                  <a:lnTo>
                    <a:pt x="823" y="259"/>
                  </a:lnTo>
                  <a:lnTo>
                    <a:pt x="826" y="247"/>
                  </a:lnTo>
                  <a:lnTo>
                    <a:pt x="826" y="232"/>
                  </a:lnTo>
                  <a:lnTo>
                    <a:pt x="826" y="215"/>
                  </a:lnTo>
                  <a:lnTo>
                    <a:pt x="816" y="220"/>
                  </a:lnTo>
                  <a:lnTo>
                    <a:pt x="808" y="222"/>
                  </a:lnTo>
                  <a:lnTo>
                    <a:pt x="796" y="224"/>
                  </a:lnTo>
                  <a:lnTo>
                    <a:pt x="784" y="222"/>
                  </a:lnTo>
                  <a:lnTo>
                    <a:pt x="776" y="222"/>
                  </a:lnTo>
                  <a:lnTo>
                    <a:pt x="771" y="224"/>
                  </a:lnTo>
                  <a:lnTo>
                    <a:pt x="766" y="227"/>
                  </a:lnTo>
                  <a:lnTo>
                    <a:pt x="761" y="232"/>
                  </a:lnTo>
                  <a:lnTo>
                    <a:pt x="756" y="242"/>
                  </a:lnTo>
                  <a:lnTo>
                    <a:pt x="751" y="249"/>
                  </a:lnTo>
                  <a:lnTo>
                    <a:pt x="744" y="254"/>
                  </a:lnTo>
                  <a:lnTo>
                    <a:pt x="737" y="256"/>
                  </a:lnTo>
                  <a:lnTo>
                    <a:pt x="734" y="256"/>
                  </a:lnTo>
                  <a:lnTo>
                    <a:pt x="731" y="254"/>
                  </a:lnTo>
                  <a:lnTo>
                    <a:pt x="727" y="252"/>
                  </a:lnTo>
                  <a:lnTo>
                    <a:pt x="725" y="249"/>
                  </a:lnTo>
                  <a:lnTo>
                    <a:pt x="722" y="240"/>
                  </a:lnTo>
                  <a:lnTo>
                    <a:pt x="720" y="229"/>
                  </a:lnTo>
                  <a:lnTo>
                    <a:pt x="724" y="213"/>
                  </a:lnTo>
                  <a:lnTo>
                    <a:pt x="727" y="198"/>
                  </a:lnTo>
                  <a:lnTo>
                    <a:pt x="736" y="186"/>
                  </a:lnTo>
                  <a:lnTo>
                    <a:pt x="746" y="176"/>
                  </a:lnTo>
                  <a:lnTo>
                    <a:pt x="751" y="171"/>
                  </a:lnTo>
                  <a:lnTo>
                    <a:pt x="757" y="168"/>
                  </a:lnTo>
                  <a:lnTo>
                    <a:pt x="763" y="165"/>
                  </a:lnTo>
                  <a:lnTo>
                    <a:pt x="769" y="161"/>
                  </a:lnTo>
                  <a:lnTo>
                    <a:pt x="784" y="158"/>
                  </a:lnTo>
                  <a:lnTo>
                    <a:pt x="801" y="156"/>
                  </a:lnTo>
                  <a:lnTo>
                    <a:pt x="806" y="154"/>
                  </a:lnTo>
                  <a:lnTo>
                    <a:pt x="810" y="151"/>
                  </a:lnTo>
                  <a:lnTo>
                    <a:pt x="811" y="146"/>
                  </a:lnTo>
                  <a:lnTo>
                    <a:pt x="813" y="143"/>
                  </a:lnTo>
                  <a:lnTo>
                    <a:pt x="816" y="131"/>
                  </a:lnTo>
                  <a:lnTo>
                    <a:pt x="816" y="117"/>
                  </a:lnTo>
                  <a:lnTo>
                    <a:pt x="816" y="106"/>
                  </a:lnTo>
                  <a:lnTo>
                    <a:pt x="818" y="94"/>
                  </a:lnTo>
                  <a:lnTo>
                    <a:pt x="816" y="70"/>
                  </a:lnTo>
                  <a:lnTo>
                    <a:pt x="816" y="45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  <p:sp>
          <p:nvSpPr>
            <p:cNvPr id="21" name="Freeform 47"/>
            <p:cNvSpPr>
              <a:spLocks noChangeAspect="1"/>
            </p:cNvSpPr>
            <p:nvPr/>
          </p:nvSpPr>
          <p:spPr bwMode="auto">
            <a:xfrm rot="-7298297">
              <a:off x="4625181" y="3661570"/>
              <a:ext cx="1184275" cy="868362"/>
            </a:xfrm>
            <a:custGeom>
              <a:avLst/>
              <a:gdLst>
                <a:gd name="T0" fmla="*/ 2147483647 w 394"/>
                <a:gd name="T1" fmla="*/ 2147483647 h 307"/>
                <a:gd name="T2" fmla="*/ 2147483647 w 394"/>
                <a:gd name="T3" fmla="*/ 2147483647 h 307"/>
                <a:gd name="T4" fmla="*/ 2147483647 w 394"/>
                <a:gd name="T5" fmla="*/ 2147483647 h 307"/>
                <a:gd name="T6" fmla="*/ 2147483647 w 394"/>
                <a:gd name="T7" fmla="*/ 2147483647 h 307"/>
                <a:gd name="T8" fmla="*/ 2147483647 w 394"/>
                <a:gd name="T9" fmla="*/ 2147483647 h 307"/>
                <a:gd name="T10" fmla="*/ 2147483647 w 394"/>
                <a:gd name="T11" fmla="*/ 2147483647 h 307"/>
                <a:gd name="T12" fmla="*/ 2147483647 w 394"/>
                <a:gd name="T13" fmla="*/ 2147483647 h 307"/>
                <a:gd name="T14" fmla="*/ 2147483647 w 394"/>
                <a:gd name="T15" fmla="*/ 2147483647 h 307"/>
                <a:gd name="T16" fmla="*/ 2147483647 w 394"/>
                <a:gd name="T17" fmla="*/ 2147483647 h 307"/>
                <a:gd name="T18" fmla="*/ 2147483647 w 394"/>
                <a:gd name="T19" fmla="*/ 0 h 307"/>
                <a:gd name="T20" fmla="*/ 2147483647 w 394"/>
                <a:gd name="T21" fmla="*/ 2147483647 h 307"/>
                <a:gd name="T22" fmla="*/ 2147483647 w 394"/>
                <a:gd name="T23" fmla="*/ 2147483647 h 307"/>
                <a:gd name="T24" fmla="*/ 2147483647 w 394"/>
                <a:gd name="T25" fmla="*/ 2147483647 h 307"/>
                <a:gd name="T26" fmla="*/ 2147483647 w 394"/>
                <a:gd name="T27" fmla="*/ 2147483647 h 307"/>
                <a:gd name="T28" fmla="*/ 2147483647 w 394"/>
                <a:gd name="T29" fmla="*/ 2147483647 h 307"/>
                <a:gd name="T30" fmla="*/ 2147483647 w 394"/>
                <a:gd name="T31" fmla="*/ 2147483647 h 307"/>
                <a:gd name="T32" fmla="*/ 2147483647 w 394"/>
                <a:gd name="T33" fmla="*/ 2147483647 h 307"/>
                <a:gd name="T34" fmla="*/ 2147483647 w 394"/>
                <a:gd name="T35" fmla="*/ 2147483647 h 307"/>
                <a:gd name="T36" fmla="*/ 2147483647 w 394"/>
                <a:gd name="T37" fmla="*/ 2147483647 h 307"/>
                <a:gd name="T38" fmla="*/ 2147483647 w 394"/>
                <a:gd name="T39" fmla="*/ 2147483647 h 307"/>
                <a:gd name="T40" fmla="*/ 2147483647 w 394"/>
                <a:gd name="T41" fmla="*/ 2147483647 h 307"/>
                <a:gd name="T42" fmla="*/ 2147483647 w 394"/>
                <a:gd name="T43" fmla="*/ 2147483647 h 307"/>
                <a:gd name="T44" fmla="*/ 2147483647 w 394"/>
                <a:gd name="T45" fmla="*/ 2147483647 h 307"/>
                <a:gd name="T46" fmla="*/ 2147483647 w 394"/>
                <a:gd name="T47" fmla="*/ 2147483647 h 307"/>
                <a:gd name="T48" fmla="*/ 2147483647 w 394"/>
                <a:gd name="T49" fmla="*/ 2147483647 h 307"/>
                <a:gd name="T50" fmla="*/ 2147483647 w 394"/>
                <a:gd name="T51" fmla="*/ 2147483647 h 307"/>
                <a:gd name="T52" fmla="*/ 2147483647 w 394"/>
                <a:gd name="T53" fmla="*/ 2147483647 h 307"/>
                <a:gd name="T54" fmla="*/ 2147483647 w 394"/>
                <a:gd name="T55" fmla="*/ 2147483647 h 307"/>
                <a:gd name="T56" fmla="*/ 2147483647 w 394"/>
                <a:gd name="T57" fmla="*/ 2147483647 h 307"/>
                <a:gd name="T58" fmla="*/ 2147483647 w 394"/>
                <a:gd name="T59" fmla="*/ 2147483647 h 307"/>
                <a:gd name="T60" fmla="*/ 2147483647 w 394"/>
                <a:gd name="T61" fmla="*/ 2147483647 h 307"/>
                <a:gd name="T62" fmla="*/ 2147483647 w 394"/>
                <a:gd name="T63" fmla="*/ 2147483647 h 307"/>
                <a:gd name="T64" fmla="*/ 2147483647 w 394"/>
                <a:gd name="T65" fmla="*/ 2147483647 h 307"/>
                <a:gd name="T66" fmla="*/ 2147483647 w 394"/>
                <a:gd name="T67" fmla="*/ 2147483647 h 307"/>
                <a:gd name="T68" fmla="*/ 2147483647 w 394"/>
                <a:gd name="T69" fmla="*/ 2147483647 h 307"/>
                <a:gd name="T70" fmla="*/ 2147483647 w 394"/>
                <a:gd name="T71" fmla="*/ 2147483647 h 307"/>
                <a:gd name="T72" fmla="*/ 2147483647 w 394"/>
                <a:gd name="T73" fmla="*/ 2147483647 h 307"/>
                <a:gd name="T74" fmla="*/ 2147483647 w 394"/>
                <a:gd name="T75" fmla="*/ 2147483647 h 307"/>
                <a:gd name="T76" fmla="*/ 2147483647 w 394"/>
                <a:gd name="T77" fmla="*/ 2147483647 h 307"/>
                <a:gd name="T78" fmla="*/ 2147483647 w 394"/>
                <a:gd name="T79" fmla="*/ 2147483647 h 307"/>
                <a:gd name="T80" fmla="*/ 2147483647 w 394"/>
                <a:gd name="T81" fmla="*/ 2147483647 h 307"/>
                <a:gd name="T82" fmla="*/ 2147483647 w 394"/>
                <a:gd name="T83" fmla="*/ 2147483647 h 307"/>
                <a:gd name="T84" fmla="*/ 2147483647 w 394"/>
                <a:gd name="T85" fmla="*/ 2147483647 h 307"/>
                <a:gd name="T86" fmla="*/ 2147483647 w 394"/>
                <a:gd name="T87" fmla="*/ 2147483647 h 307"/>
                <a:gd name="T88" fmla="*/ 0 w 394"/>
                <a:gd name="T89" fmla="*/ 2147483647 h 307"/>
                <a:gd name="T90" fmla="*/ 2147483647 w 394"/>
                <a:gd name="T91" fmla="*/ 2147483647 h 307"/>
                <a:gd name="T92" fmla="*/ 2147483647 w 394"/>
                <a:gd name="T93" fmla="*/ 2147483647 h 307"/>
                <a:gd name="T94" fmla="*/ 2147483647 w 394"/>
                <a:gd name="T95" fmla="*/ 2147483647 h 307"/>
                <a:gd name="T96" fmla="*/ 2147483647 w 394"/>
                <a:gd name="T97" fmla="*/ 2147483647 h 307"/>
                <a:gd name="T98" fmla="*/ 2147483647 w 394"/>
                <a:gd name="T99" fmla="*/ 2147483647 h 307"/>
                <a:gd name="T100" fmla="*/ 2147483647 w 394"/>
                <a:gd name="T101" fmla="*/ 2147483647 h 307"/>
                <a:gd name="T102" fmla="*/ 2147483647 w 394"/>
                <a:gd name="T103" fmla="*/ 2147483647 h 307"/>
                <a:gd name="T104" fmla="*/ 2147483647 w 394"/>
                <a:gd name="T105" fmla="*/ 2147483647 h 307"/>
                <a:gd name="T106" fmla="*/ 2147483647 w 394"/>
                <a:gd name="T107" fmla="*/ 2147483647 h 307"/>
                <a:gd name="T108" fmla="*/ 2147483647 w 394"/>
                <a:gd name="T109" fmla="*/ 2147483647 h 307"/>
                <a:gd name="T110" fmla="*/ 2147483647 w 394"/>
                <a:gd name="T111" fmla="*/ 2147483647 h 307"/>
                <a:gd name="T112" fmla="*/ 2147483647 w 394"/>
                <a:gd name="T113" fmla="*/ 2147483647 h 307"/>
                <a:gd name="T114" fmla="*/ 2147483647 w 394"/>
                <a:gd name="T115" fmla="*/ 2147483647 h 307"/>
                <a:gd name="T116" fmla="*/ 2147483647 w 394"/>
                <a:gd name="T117" fmla="*/ 2147483647 h 30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4"/>
                <a:gd name="T178" fmla="*/ 0 h 307"/>
                <a:gd name="T179" fmla="*/ 394 w 394"/>
                <a:gd name="T180" fmla="*/ 307 h 30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4" h="307">
                  <a:moveTo>
                    <a:pt x="118" y="43"/>
                  </a:moveTo>
                  <a:lnTo>
                    <a:pt x="120" y="37"/>
                  </a:lnTo>
                  <a:lnTo>
                    <a:pt x="121" y="34"/>
                  </a:lnTo>
                  <a:lnTo>
                    <a:pt x="125" y="31"/>
                  </a:lnTo>
                  <a:lnTo>
                    <a:pt x="130" y="27"/>
                  </a:lnTo>
                  <a:lnTo>
                    <a:pt x="140" y="26"/>
                  </a:lnTo>
                  <a:lnTo>
                    <a:pt x="152" y="24"/>
                  </a:lnTo>
                  <a:lnTo>
                    <a:pt x="165" y="22"/>
                  </a:lnTo>
                  <a:lnTo>
                    <a:pt x="179" y="21"/>
                  </a:lnTo>
                  <a:lnTo>
                    <a:pt x="189" y="19"/>
                  </a:lnTo>
                  <a:lnTo>
                    <a:pt x="195" y="14"/>
                  </a:lnTo>
                  <a:lnTo>
                    <a:pt x="179" y="12"/>
                  </a:lnTo>
                  <a:lnTo>
                    <a:pt x="162" y="11"/>
                  </a:lnTo>
                  <a:lnTo>
                    <a:pt x="160" y="9"/>
                  </a:lnTo>
                  <a:lnTo>
                    <a:pt x="160" y="7"/>
                  </a:lnTo>
                  <a:lnTo>
                    <a:pt x="163" y="5"/>
                  </a:lnTo>
                  <a:lnTo>
                    <a:pt x="167" y="5"/>
                  </a:lnTo>
                  <a:lnTo>
                    <a:pt x="184" y="4"/>
                  </a:lnTo>
                  <a:lnTo>
                    <a:pt x="209" y="2"/>
                  </a:lnTo>
                  <a:lnTo>
                    <a:pt x="233" y="0"/>
                  </a:lnTo>
                  <a:lnTo>
                    <a:pt x="256" y="2"/>
                  </a:lnTo>
                  <a:lnTo>
                    <a:pt x="268" y="4"/>
                  </a:lnTo>
                  <a:lnTo>
                    <a:pt x="280" y="5"/>
                  </a:lnTo>
                  <a:lnTo>
                    <a:pt x="291" y="11"/>
                  </a:lnTo>
                  <a:lnTo>
                    <a:pt x="303" y="14"/>
                  </a:lnTo>
                  <a:lnTo>
                    <a:pt x="308" y="16"/>
                  </a:lnTo>
                  <a:lnTo>
                    <a:pt x="315" y="19"/>
                  </a:lnTo>
                  <a:lnTo>
                    <a:pt x="322" y="24"/>
                  </a:lnTo>
                  <a:lnTo>
                    <a:pt x="327" y="29"/>
                  </a:lnTo>
                  <a:lnTo>
                    <a:pt x="339" y="41"/>
                  </a:lnTo>
                  <a:lnTo>
                    <a:pt x="352" y="59"/>
                  </a:lnTo>
                  <a:lnTo>
                    <a:pt x="360" y="66"/>
                  </a:lnTo>
                  <a:lnTo>
                    <a:pt x="369" y="71"/>
                  </a:lnTo>
                  <a:lnTo>
                    <a:pt x="372" y="71"/>
                  </a:lnTo>
                  <a:lnTo>
                    <a:pt x="376" y="71"/>
                  </a:lnTo>
                  <a:lnTo>
                    <a:pt x="381" y="69"/>
                  </a:lnTo>
                  <a:lnTo>
                    <a:pt x="384" y="68"/>
                  </a:lnTo>
                  <a:lnTo>
                    <a:pt x="389" y="76"/>
                  </a:lnTo>
                  <a:lnTo>
                    <a:pt x="392" y="85"/>
                  </a:lnTo>
                  <a:lnTo>
                    <a:pt x="394" y="95"/>
                  </a:lnTo>
                  <a:lnTo>
                    <a:pt x="394" y="103"/>
                  </a:lnTo>
                  <a:lnTo>
                    <a:pt x="392" y="112"/>
                  </a:lnTo>
                  <a:lnTo>
                    <a:pt x="387" y="122"/>
                  </a:lnTo>
                  <a:lnTo>
                    <a:pt x="379" y="130"/>
                  </a:lnTo>
                  <a:lnTo>
                    <a:pt x="369" y="139"/>
                  </a:lnTo>
                  <a:lnTo>
                    <a:pt x="365" y="147"/>
                  </a:lnTo>
                  <a:lnTo>
                    <a:pt x="359" y="154"/>
                  </a:lnTo>
                  <a:lnTo>
                    <a:pt x="349" y="160"/>
                  </a:lnTo>
                  <a:lnTo>
                    <a:pt x="334" y="164"/>
                  </a:lnTo>
                  <a:lnTo>
                    <a:pt x="327" y="174"/>
                  </a:lnTo>
                  <a:lnTo>
                    <a:pt x="317" y="181"/>
                  </a:lnTo>
                  <a:lnTo>
                    <a:pt x="312" y="182"/>
                  </a:lnTo>
                  <a:lnTo>
                    <a:pt x="307" y="184"/>
                  </a:lnTo>
                  <a:lnTo>
                    <a:pt x="302" y="184"/>
                  </a:lnTo>
                  <a:lnTo>
                    <a:pt x="295" y="184"/>
                  </a:lnTo>
                  <a:lnTo>
                    <a:pt x="278" y="192"/>
                  </a:lnTo>
                  <a:lnTo>
                    <a:pt x="263" y="203"/>
                  </a:lnTo>
                  <a:lnTo>
                    <a:pt x="249" y="214"/>
                  </a:lnTo>
                  <a:lnTo>
                    <a:pt x="236" y="226"/>
                  </a:lnTo>
                  <a:lnTo>
                    <a:pt x="217" y="236"/>
                  </a:lnTo>
                  <a:lnTo>
                    <a:pt x="202" y="243"/>
                  </a:lnTo>
                  <a:lnTo>
                    <a:pt x="197" y="243"/>
                  </a:lnTo>
                  <a:lnTo>
                    <a:pt x="194" y="243"/>
                  </a:lnTo>
                  <a:lnTo>
                    <a:pt x="192" y="238"/>
                  </a:lnTo>
                  <a:lnTo>
                    <a:pt x="195" y="231"/>
                  </a:lnTo>
                  <a:lnTo>
                    <a:pt x="190" y="228"/>
                  </a:lnTo>
                  <a:lnTo>
                    <a:pt x="179" y="224"/>
                  </a:lnTo>
                  <a:lnTo>
                    <a:pt x="162" y="221"/>
                  </a:lnTo>
                  <a:lnTo>
                    <a:pt x="143" y="218"/>
                  </a:lnTo>
                  <a:lnTo>
                    <a:pt x="128" y="238"/>
                  </a:lnTo>
                  <a:lnTo>
                    <a:pt x="115" y="256"/>
                  </a:lnTo>
                  <a:lnTo>
                    <a:pt x="108" y="265"/>
                  </a:lnTo>
                  <a:lnTo>
                    <a:pt x="101" y="268"/>
                  </a:lnTo>
                  <a:lnTo>
                    <a:pt x="98" y="270"/>
                  </a:lnTo>
                  <a:lnTo>
                    <a:pt x="94" y="270"/>
                  </a:lnTo>
                  <a:lnTo>
                    <a:pt x="93" y="268"/>
                  </a:lnTo>
                  <a:lnTo>
                    <a:pt x="89" y="266"/>
                  </a:lnTo>
                  <a:lnTo>
                    <a:pt x="81" y="266"/>
                  </a:lnTo>
                  <a:lnTo>
                    <a:pt x="73" y="268"/>
                  </a:lnTo>
                  <a:lnTo>
                    <a:pt x="66" y="272"/>
                  </a:lnTo>
                  <a:lnTo>
                    <a:pt x="59" y="278"/>
                  </a:lnTo>
                  <a:lnTo>
                    <a:pt x="47" y="293"/>
                  </a:lnTo>
                  <a:lnTo>
                    <a:pt x="36" y="307"/>
                  </a:lnTo>
                  <a:lnTo>
                    <a:pt x="34" y="295"/>
                  </a:lnTo>
                  <a:lnTo>
                    <a:pt x="32" y="283"/>
                  </a:lnTo>
                  <a:lnTo>
                    <a:pt x="22" y="273"/>
                  </a:lnTo>
                  <a:lnTo>
                    <a:pt x="14" y="261"/>
                  </a:lnTo>
                  <a:lnTo>
                    <a:pt x="7" y="250"/>
                  </a:lnTo>
                  <a:lnTo>
                    <a:pt x="2" y="238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2" y="206"/>
                  </a:lnTo>
                  <a:lnTo>
                    <a:pt x="9" y="194"/>
                  </a:lnTo>
                  <a:lnTo>
                    <a:pt x="10" y="184"/>
                  </a:lnTo>
                  <a:lnTo>
                    <a:pt x="12" y="174"/>
                  </a:lnTo>
                  <a:lnTo>
                    <a:pt x="15" y="167"/>
                  </a:lnTo>
                  <a:lnTo>
                    <a:pt x="19" y="164"/>
                  </a:lnTo>
                  <a:lnTo>
                    <a:pt x="24" y="159"/>
                  </a:lnTo>
                  <a:lnTo>
                    <a:pt x="31" y="155"/>
                  </a:lnTo>
                  <a:lnTo>
                    <a:pt x="39" y="149"/>
                  </a:lnTo>
                  <a:lnTo>
                    <a:pt x="46" y="139"/>
                  </a:lnTo>
                  <a:lnTo>
                    <a:pt x="51" y="127"/>
                  </a:lnTo>
                  <a:lnTo>
                    <a:pt x="56" y="115"/>
                  </a:lnTo>
                  <a:lnTo>
                    <a:pt x="59" y="101"/>
                  </a:lnTo>
                  <a:lnTo>
                    <a:pt x="64" y="91"/>
                  </a:lnTo>
                  <a:lnTo>
                    <a:pt x="69" y="83"/>
                  </a:lnTo>
                  <a:lnTo>
                    <a:pt x="78" y="78"/>
                  </a:lnTo>
                  <a:lnTo>
                    <a:pt x="83" y="78"/>
                  </a:lnTo>
                  <a:lnTo>
                    <a:pt x="84" y="78"/>
                  </a:lnTo>
                  <a:lnTo>
                    <a:pt x="88" y="78"/>
                  </a:lnTo>
                  <a:lnTo>
                    <a:pt x="89" y="76"/>
                  </a:lnTo>
                  <a:lnTo>
                    <a:pt x="91" y="69"/>
                  </a:lnTo>
                  <a:lnTo>
                    <a:pt x="91" y="63"/>
                  </a:lnTo>
                  <a:lnTo>
                    <a:pt x="93" y="56"/>
                  </a:lnTo>
                  <a:lnTo>
                    <a:pt x="98" y="49"/>
                  </a:lnTo>
                  <a:lnTo>
                    <a:pt x="101" y="46"/>
                  </a:lnTo>
                  <a:lnTo>
                    <a:pt x="105" y="44"/>
                  </a:lnTo>
                  <a:lnTo>
                    <a:pt x="111" y="43"/>
                  </a:lnTo>
                  <a:lnTo>
                    <a:pt x="118" y="43"/>
                  </a:lnTo>
                </a:path>
              </a:pathLst>
            </a:custGeom>
            <a:grpFill/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</p:grpSp>
      <p:pic>
        <p:nvPicPr>
          <p:cNvPr id="3086" name="Рисунок 21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143125" y="3071813"/>
            <a:ext cx="642938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7" name="TextBox 22"/>
          <p:cNvSpPr txBox="1">
            <a:spLocks noChangeArrowheads="1"/>
          </p:cNvSpPr>
          <p:nvPr/>
        </p:nvSpPr>
        <p:spPr bwMode="auto">
          <a:xfrm>
            <a:off x="3143250" y="1571625"/>
            <a:ext cx="147478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Городской округ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Певек</a:t>
            </a:r>
          </a:p>
        </p:txBody>
      </p:sp>
      <p:pic>
        <p:nvPicPr>
          <p:cNvPr id="3088" name="Рисунок 23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571875" y="2071688"/>
            <a:ext cx="642938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9" name="TextBox 24"/>
          <p:cNvSpPr txBox="1">
            <a:spLocks noChangeArrowheads="1"/>
          </p:cNvSpPr>
          <p:nvPr/>
        </p:nvSpPr>
        <p:spPr bwMode="auto">
          <a:xfrm>
            <a:off x="4786313" y="1857375"/>
            <a:ext cx="1489075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b="1">
                <a:latin typeface="Times New Roman" pitchFamily="18" charset="0"/>
                <a:cs typeface="Times New Roman" pitchFamily="18" charset="0"/>
              </a:rPr>
              <a:t>Городской округ</a:t>
            </a: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b="1">
                <a:latin typeface="Times New Roman" pitchFamily="18" charset="0"/>
                <a:cs typeface="Times New Roman" pitchFamily="18" charset="0"/>
              </a:rPr>
              <a:t>       Эгвекинот</a:t>
            </a:r>
            <a:endParaRPr lang="en-US" sz="1300" b="1">
              <a:latin typeface="Times New Roman" pitchFamily="18" charset="0"/>
              <a:cs typeface="Times New Roman" pitchFamily="18" charset="0"/>
            </a:endParaRPr>
          </a:p>
          <a:p>
            <a:endParaRPr lang="ru-RU"/>
          </a:p>
        </p:txBody>
      </p:sp>
      <p:pic>
        <p:nvPicPr>
          <p:cNvPr id="3090" name="Рисунок 25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214938" y="2357438"/>
            <a:ext cx="642937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1" name="TextBox 26"/>
          <p:cNvSpPr txBox="1">
            <a:spLocks noChangeArrowheads="1"/>
          </p:cNvSpPr>
          <p:nvPr/>
        </p:nvSpPr>
        <p:spPr bwMode="auto">
          <a:xfrm>
            <a:off x="6288088" y="3254375"/>
            <a:ext cx="1331912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Провиденски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городско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округ</a:t>
            </a:r>
          </a:p>
        </p:txBody>
      </p:sp>
      <p:pic>
        <p:nvPicPr>
          <p:cNvPr id="3092" name="Рисунок 27" descr="Без имени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143750" y="2643188"/>
            <a:ext cx="569913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3" name="TextBox 28"/>
          <p:cNvSpPr txBox="1">
            <a:spLocks noChangeArrowheads="1"/>
          </p:cNvSpPr>
          <p:nvPr/>
        </p:nvSpPr>
        <p:spPr bwMode="auto">
          <a:xfrm>
            <a:off x="6645275" y="1968500"/>
            <a:ext cx="1450975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Чукотски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муниципальный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район</a:t>
            </a:r>
          </a:p>
        </p:txBody>
      </p:sp>
      <p:pic>
        <p:nvPicPr>
          <p:cNvPr id="3094" name="Рисунок 29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643688" y="4000500"/>
            <a:ext cx="642937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5" name="TextBox 30"/>
          <p:cNvSpPr txBox="1">
            <a:spLocks noChangeArrowheads="1"/>
          </p:cNvSpPr>
          <p:nvPr/>
        </p:nvSpPr>
        <p:spPr bwMode="auto">
          <a:xfrm>
            <a:off x="5359400" y="3683000"/>
            <a:ext cx="1046163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 Городско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округ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Анадырь</a:t>
            </a:r>
          </a:p>
        </p:txBody>
      </p:sp>
      <p:sp>
        <p:nvSpPr>
          <p:cNvPr id="32" name="Овал 31"/>
          <p:cNvSpPr/>
          <p:nvPr/>
        </p:nvSpPr>
        <p:spPr>
          <a:xfrm>
            <a:off x="5287963" y="4040188"/>
            <a:ext cx="142875" cy="142875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097" name="Рисунок 3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5429250" y="43576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8" name="TextBox 33"/>
          <p:cNvSpPr txBox="1">
            <a:spLocks noChangeArrowheads="1"/>
          </p:cNvSpPr>
          <p:nvPr/>
        </p:nvSpPr>
        <p:spPr bwMode="auto">
          <a:xfrm>
            <a:off x="3716338" y="3040063"/>
            <a:ext cx="1450975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Анадырски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муниципальный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район</a:t>
            </a:r>
          </a:p>
        </p:txBody>
      </p:sp>
      <p:pic>
        <p:nvPicPr>
          <p:cNvPr id="3099" name="Рисунок 34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4143375" y="3714750"/>
            <a:ext cx="642938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Прямоугольник 64"/>
          <p:cNvSpPr/>
          <p:nvPr/>
        </p:nvSpPr>
        <p:spPr>
          <a:xfrm>
            <a:off x="0" y="142875"/>
            <a:ext cx="9144000" cy="3698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униципальные образования Чукотского автономного округа</a:t>
            </a:r>
            <a:endParaRPr lang="ru-RU" dirty="0"/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бщая площадь жилых помещений, приходящихся в среднем на одного жителя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кв. м)</a:t>
            </a:r>
            <a:endParaRPr lang="ru-RU" sz="21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379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379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6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м 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4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 м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3,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м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(- 2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8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 м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2 %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308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2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 м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3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5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 м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9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м (+ 1 %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многоквартирных домов, в которых собственники помещений выбрали и реализуют один из способов управления 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КД</a:t>
            </a:r>
            <a:r>
              <a:rPr lang="ru-RU" sz="1600" b="1" baseline="30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в общем числе 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КД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в которых собственники помещений должны выбрать способ управления данными домам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4821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4822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Эгвекинот – 100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Провиденский – 100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евек – 0 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100 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554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100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Анадырский – 35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Билибинский – 3 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826" name="TextBox 13"/>
          <p:cNvSpPr txBox="1">
            <a:spLocks noChangeArrowheads="1"/>
          </p:cNvSpPr>
          <p:nvPr/>
        </p:nvSpPr>
        <p:spPr bwMode="auto">
          <a:xfrm>
            <a:off x="857250" y="6550025"/>
            <a:ext cx="25977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 baseline="30000" dirty="0"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КД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– многоквартирные дом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r>
              <a:rPr lang="ru-RU" sz="1100" b="1" smtClean="0">
                <a:latin typeface="Times New Roman" pitchFamily="18" charset="0"/>
                <a:cs typeface="Times New Roman" pitchFamily="18" charset="0"/>
              </a:rPr>
              <a:t>Доля организаций коммунального комплекса, осуществляющих производство товаров, оказание услуг по водо-, тепло-, газо-, электроснабжению, водоотведению, очистке сточных вод, утилизации (захоронению) ТБО и использующих объекты коммунальной инфраструктуры на праве частной собственности, по договору аренды или концессии, участие субъекта РФ и (или) ГО (МР) в уставном капитале которых составляет не более 25 %, в общем числе организаций коммунального комплекса, осуществляющих свою деятельность на территории ГО (МР)   </a:t>
            </a:r>
            <a:r>
              <a:rPr lang="ru-RU" sz="1100" smtClean="0">
                <a:latin typeface="Times New Roman" pitchFamily="18" charset="0"/>
                <a:cs typeface="Times New Roman" pitchFamily="18" charset="0"/>
              </a:rPr>
              <a:t>(%)</a:t>
            </a:r>
            <a:r>
              <a:rPr lang="ru-RU" sz="1100" b="1" smtClean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584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584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5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3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2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554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8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8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многоквартирных домов, расположенных на земельных участках, в отношении которых осуществлен государственный кадастровый учет 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86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687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9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1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046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100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0,6% (+ 35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4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населения, получившего жилые помещения и улучшившего жилищные условия в отчетном году, в общей численности населения, состоящего на учете в качестве нуждающегося в жилых помещениях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789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789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5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9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6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0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80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7,9 % (-18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7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0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0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налоговых и неналоговых доходов местного бюджета (за исключением поступлений налоговых доходов по дополнительным нормативам отчислений) в общем объеме собственных доходов бюджета МО (без учета субвенций)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891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891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7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34,0 п.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2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1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80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2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6,1 п.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ходы бюджета муниципального образования на содержание работников </a:t>
            </a:r>
            <a:b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рганов местного самоуправления в расчете </a:t>
            </a:r>
            <a:b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а одного жителя муниципального образования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941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9942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9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42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9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7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046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5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6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36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1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электрической энергии в многоквартирных домах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Вт/час на 1 проживающего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98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199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2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6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540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тепловой энергии в многоквартирных домах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Гкал на 1 кв. м общей площади 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01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301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горячей воды в многоквартирных домах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уб. м на 1 проживающего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403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403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4100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4098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102" name="Прямоугольник 6"/>
          <p:cNvSpPr>
            <a:spLocks noChangeArrowheads="1"/>
          </p:cNvSpPr>
          <p:nvPr/>
        </p:nvSpPr>
        <p:spPr bwMode="auto">
          <a:xfrm>
            <a:off x="142875" y="785813"/>
            <a:ext cx="8858250" cy="7109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ЭКОНОМИЧЕСКОЕ РАЗВИТИЕ</a:t>
            </a:r>
          </a:p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b="1" u="sng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 Число субъектов малого и среднего предпринимательства в расчёте на 10 тыс. населения человек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сталось без изменений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 всех муниципальных образованиях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тмечен рост показателя в городских округах Анадырь и Певек на 23 и 11 % соответственно, снижение в Провиденском городском округе – на 10 %.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 целях увеличения числа субъектов МСП, помимо мер, принимаемых Правительством округа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администрациями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муниципальных образований предусмотрены меры поддержки в виде пониженной арендной ставки на земельные участки и муниципальное имущество, субсидии на возмещение части затрат по оплате коммунальных услуг для субъектов, осуществляющих деятельность в сельской местности, а также финансовой поддержки начинающим предпринимателям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 Показатели «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», «Доля площади земельных участков, являющихся объектами налогообложения земельным налогом, в общей площади территории городского округа (муниципального района)» и «Доля населения, проживающего в населенных пунктах, не имеющих регулярного автобусного и (или) железнодорожного сообщения с административным центром городского округа (муниципального района), в общей численности населения городского округа (муниципального района)»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 представлены без значительных изменений в сравнении с предыдущими отчётными периодами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2020 году показатель «Объем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инвестиций в основной капитал (за исключением бюджетных средств) в расчёте на одного жителя» вырос во всех муниципальных образованиях, за исключением Анадырского муниципального района и городского округа Эгвекинот. Самый большой рост отмечен в Чукотском муниципальном районе – в 28 раз. Максимальное значение показателя сохранилось у Билибинского муниципального района – 1 063 148 рублей (+53,8 % к прошлому году)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величение инвестиций связано с реализацией крупных инвестиционных проектов в Чаун - Билибинской и Анадырской промышленных зонах, а также практикой преференциальных режимов на территории округа (ТОР «Чукотка», СПВ, АЗРФ).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На территории Чукотского АО функционируют 15 сельскохозяйственных организаций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из которых являются прибыльными. Доля прибыльных сельскохозяйственных организаций в общем их числе в Анадырском МР составила 60 % (3 из 5), Билибинском МР 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(4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), ГО Эгвекинот – 100 % (3); в остальных муниципальных образованиях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холодной воды в многоквартирных домах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уб. м на 1 проживающего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061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5062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4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5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электрической энергии  муниципальными бюджетными учреждениями </a:t>
            </a:r>
            <a:b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Вт/час на 1 человека населения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608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608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540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9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тепловой энергии муниципальными бюджетными учреждениями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Гкал на 1 кв. м общей площади 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710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711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9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горячей воды муниципальными бюджетными учреждениями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уб. м на 1 человека населения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813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813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1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89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9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5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холодной воды муниципальными бюджетными учреждениями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уб. м на 1 человека населения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15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915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7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Эгвекинот – 96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4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98 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40322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5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28688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муниципальных образований Чукотского автономного округа по итогам комплексной оценки эффективности деятельности за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од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3251" name="Содержимое 4" descr="depositphotos_75573139-stock-photo-trophy-podium.jpg"/>
          <p:cNvPicPr>
            <a:picLocks noGrp="1" noChangeAspect="1"/>
          </p:cNvPicPr>
          <p:nvPr>
            <p:ph idx="1"/>
          </p:nvPr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85750" y="1785938"/>
            <a:ext cx="3898900" cy="2900362"/>
          </a:xfrm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53253" name="Содержимое 4" descr="depositphotos_75573139-stock-photo-trophy-podium.jp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929188" y="1785938"/>
            <a:ext cx="3898900" cy="290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54" name="TextBox 6"/>
          <p:cNvSpPr txBox="1">
            <a:spLocks noChangeArrowheads="1"/>
          </p:cNvSpPr>
          <p:nvPr/>
        </p:nvSpPr>
        <p:spPr bwMode="auto">
          <a:xfrm>
            <a:off x="1357313" y="1285875"/>
            <a:ext cx="18161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53255" name="TextBox 7"/>
          <p:cNvSpPr txBox="1">
            <a:spLocks noChangeArrowheads="1"/>
          </p:cNvSpPr>
          <p:nvPr/>
        </p:nvSpPr>
        <p:spPr bwMode="auto">
          <a:xfrm>
            <a:off x="5643563" y="1285875"/>
            <a:ext cx="253841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857375" y="4286250"/>
            <a:ext cx="757238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евек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61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0063" y="4500563"/>
            <a:ext cx="1176337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Эгвекинот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55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43188" y="4572000"/>
            <a:ext cx="1546225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овиденский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46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15063" y="4286250"/>
            <a:ext cx="1204912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Чукотский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55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358063" y="4572000"/>
            <a:ext cx="1460500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Билибинский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45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571875" y="5715000"/>
            <a:ext cx="1941237" cy="33855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О Анадырь – 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47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Лента лицом вверх 17"/>
          <p:cNvSpPr/>
          <p:nvPr/>
        </p:nvSpPr>
        <p:spPr>
          <a:xfrm>
            <a:off x="2071688" y="5643563"/>
            <a:ext cx="4929187" cy="612775"/>
          </a:xfrm>
          <a:prstGeom prst="ribbon2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5000625" y="4572000"/>
            <a:ext cx="1379538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Анадырский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48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5124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5122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26" name="Прямоугольник 6"/>
          <p:cNvSpPr>
            <a:spLocks noChangeArrowheads="1"/>
          </p:cNvSpPr>
          <p:nvPr/>
        </p:nvSpPr>
        <p:spPr bwMode="auto">
          <a:xfrm>
            <a:off x="142875" y="714375"/>
            <a:ext cx="8858250" cy="7309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сельскохозяйственные организации являются убыточными, за исключением ГО Анадырь, в котором отсутствуют предприятия сельского хозяйства.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2020 году проведена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большая работа по приведению автомобильных дорог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ормативное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остояние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: в рамках национального проекта «Безопасные и качественные дороги» отремонтированы автомобильные дороги в городских округах Певек и Анадырь. За счет финансовой поддержки из окружного бюджета ежегодно ремонтируются дороги во всех муниципальных образованиях округа.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а во всех муниципальных образованиях округа отмечен рост среднемесячных номинальных начисленных заработных плат работников (далее - среднемесячная заработная плата) в сравнении с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ом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 среднемесячная заработная плата работников: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крупных и средних предприятий и некоммерческих организаций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олько в  ГО Анадырь 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Билибинском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МР оказалась выше среднемесячной заработной платы по полному кругу организаций в целом по экономике округа (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. 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20,6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ыс. рублей), в остальных муниципальных образованиях – значительно ниже;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муниципальных дошкольных образовательных учреждений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только 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ровиденско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 – выше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реднемесячной заработной платы общего образования по округу (2020 г. – 92,8 тыс. руб.)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остальных муниципальных образованиях – значительно ниже;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муниципальных общеобразовательных учреждений</a:t>
            </a:r>
            <a:r>
              <a:rPr lang="ru-RU" sz="1300" u="sng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 всех муниципальных образованиях – на уровне (выше) среднемесячной заработной платы общего образования по округу, за исключением Провиденского ГО и Анадырско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Р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учителей муниципальных общеобразовательных учреждений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 всех муниципальных образованиях – на уровне (выше) целевого показателя, установленного «майскими» указами Президента РФ, - среднемесячного дохода от трудовой деятельности по округу (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. 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06,9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ыс. руб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.), за исключение ГО Анадырь – 101,5 тыс. рублей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муниципальных учреждений культуры и искусства</a:t>
            </a:r>
            <a:r>
              <a:rPr lang="ru-RU" sz="1300" u="sng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 всех муниципальных образованиях – выше среднемесячной заработной платы работников культуры и искусства по округу (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– 101,5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ыс. руб.), за исключением ГО Анадырь и Билибинского МР, в которых значение данного показателя ниже.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а среднемесячная заработная плата работников </a:t>
            </a: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муниципальных учреждений физической культуры и спорта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находится в диапазоне от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36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д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95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ыс. рублей. Снижение значения данного показателя отмечено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Чукотском МР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42,2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ыс. руб.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 д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36,4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ыс. рублей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.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614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6146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50" name="Прямоугольник 6"/>
          <p:cNvSpPr>
            <a:spLocks noChangeArrowheads="1"/>
          </p:cNvSpPr>
          <p:nvPr/>
        </p:nvSpPr>
        <p:spPr bwMode="auto">
          <a:xfrm>
            <a:off x="142844" y="714356"/>
            <a:ext cx="8858250" cy="6109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ДОШКОЛЬНОЕ ОБРАЗОВАНИЕ</a:t>
            </a:r>
          </a:p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b="1" u="sng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На территории Чукотского АО функционируют 43 организации на 4 379 мест, осуществляющие образовательную деятельность по программам дошкольного образования, присмотр и уход з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етьми,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14 из них оказывают образовательные услуги. 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ля детей в возрасте 1 – 6 лет, получающих дошкольную образовательную услугу и (или) услугу по их содержанию в муниципальных образовательных учреждениях в общей численности детей в возрасте 1-6 лет, во всех муниципальных образованиях округа превышает 80 %, самый высокое значение отмечено в ГО Эгвекинот – 91 %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целях обеспечения предоставления услуг по дошкольному образованию в 2020 году заключен контракт на строительство детского сада в г. Анадырь на 60 мест (срок ввода в эксплуатацию – 2022 год), в 2021 – 2022 годах будет проведен капитальный ремонт дошкольных групп в с. Нунлигран Провиденского ГО. Ежегодно выделяются средства региональных и местных бюджетов на проведение текущих ремонтов и оснащение детских садов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ctr" defTabSz="898525" eaLnBrk="0" hangingPunct="0">
              <a:tabLst>
                <a:tab pos="357188" algn="l"/>
                <a:tab pos="985838" algn="l"/>
              </a:tabLst>
            </a:pPr>
            <a:r>
              <a:rPr lang="ru-RU" sz="1300" b="1" u="sng" dirty="0" smtClean="0">
                <a:latin typeface="Times New Roman" pitchFamily="18" charset="0"/>
                <a:cs typeface="Times New Roman" pitchFamily="18" charset="0"/>
              </a:rPr>
              <a:t>ОБЩЕЕ И ДОПОЛНИТЕЛЬНОЕ ОБРАЗОВАНИЕ</a:t>
            </a:r>
          </a:p>
          <a:p>
            <a:pPr algn="ctr" defTabSz="898525" eaLnBrk="0" hangingPunct="0">
              <a:tabLst>
                <a:tab pos="357188" algn="l"/>
                <a:tab pos="985838" algn="l"/>
              </a:tabLst>
            </a:pPr>
            <a:endParaRPr lang="ru-RU" sz="1300" b="1" u="sng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На территории Чукотского АО функционируют 40 общеобразовательных муниципальных учреждений, 36 из которых соответствуют современным требованиям обучения. 2 учреждения в ГО Певек, по одному в Провиденском ГО и Чукотском МР требуют дополнительного оснащения и модернизации. 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се общеобразовательные муниципальные учреждения находятся в удовлетворительном состоянии и не требуют капитального ремонта, за исключением Школы – интерната общего основного образования с. Нунлигран Провиденского ГО, здание которой требует проведения  капитального ремонта (запланирован на 2021 - 2022 гг.). В целях повышения доступности общего образования запланировано строительство начальной школы в с. Лорино и школы в с. Островное к 2023 году. К 2024 году будет введена в эксплуатацию школа в г. Анадырь на 500 мест – это позволит исключить обучение во вторую смену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 итогам 2020 года все выпускники округа получили аттестат о среднем (полном) образовании; д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ля детей первой и второй групп здоровья в общей численности учащихся во всех муниципальных образованиях превышает 80 %, за исключением ГО Анадырь (63 %); расходы на одного обучающего выросли от 4 до 20 % во всех муниципальных образованиях, за исключением Билибинского МР (снижение на 28 %)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8196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8194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4" r:id="rId6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198" name="Прямоугольник 6"/>
          <p:cNvSpPr>
            <a:spLocks noChangeArrowheads="1"/>
          </p:cNvSpPr>
          <p:nvPr/>
        </p:nvSpPr>
        <p:spPr bwMode="auto">
          <a:xfrm>
            <a:off x="142875" y="785813"/>
            <a:ext cx="8858250" cy="590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tabLst>
                <a:tab pos="357188" algn="l"/>
                <a:tab pos="985838" algn="l"/>
              </a:tabLst>
            </a:pPr>
            <a:r>
              <a:rPr lang="ru-RU" sz="1300" b="1" u="sng" dirty="0" smtClean="0">
                <a:latin typeface="Times New Roman" pitchFamily="18" charset="0"/>
                <a:cs typeface="Times New Roman" pitchFamily="18" charset="0"/>
              </a:rPr>
              <a:t>КУЛЬТУРА</a:t>
            </a:r>
            <a:endParaRPr lang="ru-RU" sz="1300" b="1" u="sng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На территории Чукотского АО во всех муниципальных образованиях отсутствуют объекты культурного наследия, находящиеся в муниципальной собственности и требующие консервации или реставрации, а также парки культуры и отдыха, за исключением парка «</a:t>
            </a:r>
            <a:r>
              <a:rPr lang="ru-RU" sz="1300" dirty="0" err="1">
                <a:latin typeface="Times New Roman" pitchFamily="18" charset="0"/>
                <a:cs typeface="Times New Roman" pitchFamily="18" charset="0"/>
              </a:rPr>
              <a:t>Мургин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err="1">
                <a:latin typeface="Times New Roman" pitchFamily="18" charset="0"/>
                <a:cs typeface="Times New Roman" pitchFamily="18" charset="0"/>
              </a:rPr>
              <a:t>ваыргын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», расположенном в Чукотском МР. Все муниципальные образования обеспечены библиотеками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клубами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и учреждениями клубно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типа.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 целях повышения уровня обеспеченности учреждениями культур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за период 2021 – 2024 гг. будут введены в эксплуатацию 11 объектов культуры: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8 центров культуры и досуга модульного типа (с. Янракыннот, с. Новое Чаплино, с. Нунлигран, с. Сиреники и с. Энмелен в Провиденском ГО; с. Нутэпэльмен ГО Эгвекинот; с. Тавайваам в ГО Анадырь; с. Рыткучи в ГО Певек)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Центр культурного развития в г. Певек в рамках национального проекта «Культура»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м культуры в с. Канчалан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Центр культуры и досуга в с. Лаврентия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В округе ежегодно проходят фестивали, концерты, выставки и различные культурно – массовые мероприятия, позволяющие не только обеспечить досуг жителей, но и сохранить традиции коренных народов Чукотки.</a:t>
            </a:r>
          </a:p>
          <a:p>
            <a:pPr algn="ctr" defTabSz="898525" eaLnBrk="0" hangingPunct="0">
              <a:tabLst>
                <a:tab pos="357188" algn="l"/>
                <a:tab pos="985838" algn="l"/>
              </a:tabLst>
            </a:pPr>
            <a:r>
              <a:rPr lang="ru-RU" sz="1300" b="1" u="sng" dirty="0" smtClean="0">
                <a:latin typeface="Times New Roman" pitchFamily="18" charset="0"/>
                <a:cs typeface="Times New Roman" pitchFamily="18" charset="0"/>
              </a:rPr>
              <a:t>ФИЗИЧЕСКАЯ КУЛЬТУРА И СПОРТ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По итогам 2020 года доля населения, систематически занимающегося физической культурой и спортом, в муниципальных образованиях Чукотского АО обозначилась в диапазоне от 33 до 52 %, минимальное значение данного показателя – в ГО Певек, максимальное – в Провиденском ГО. Более 70 % обучающихся занимаются физической культурой и спортом во всех муниципальных образованиях, за исключением Билибинского МР (62 %)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В целях формирования здорового образа жизни у населения округа, увеличения числа людей, систематически занимающихся физической культурой и спортом, с 2020 года в рамках Федерального проекта «Спорт – норма жизни» в окружном бюджете предусмотрены субсидии муниципальным образованиям на развитие и поддержку национальных видов спорта, проведение массовых физкультурных мероприятий и оснащение объектов спортивной инфраструктуры спортивно-технологическим оборудованием. а также бюджетные ассигнования на строительство многофункциональных спортивных площадок с искусственным покрытием в г. Певеке и г. Билибино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К 2024 году будут введены 2 спортивных зала: в с. Тавайваам ГО Анадырь и с. Лаврентия Чукотского МР.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10244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10242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246" name="Прямоугольник 6"/>
          <p:cNvSpPr>
            <a:spLocks noChangeArrowheads="1"/>
          </p:cNvSpPr>
          <p:nvPr/>
        </p:nvSpPr>
        <p:spPr bwMode="auto">
          <a:xfrm>
            <a:off x="142875" y="714375"/>
            <a:ext cx="8858250" cy="590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ЖИЛИЩНОЕ СТРОИТЕЛЬСТВО И ОБЕСПЕЧЕНИЕ</a:t>
            </a:r>
          </a:p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b="1" u="sng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 итогам 2020 года общая площадь жилых помещений, приходящихся на одного жителя, во всех муниципальных образованиях составляет около 20 кв.м,  без существенных изменений в сравнении в 2019 годом. Новые многоквартирные дома построены в 2020 году в Анадырском и Билибинском муниципальных районах. К 2024 году будет выполнена программа переселения из ветхого и аварийного жилья, построено 23,5 тыс. кв. м жилья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По состоянию н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01.01.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 всех муниципальных образованиях округа отсутствуют земельные участки, предоставленные для строительства, в отношении которых с даты принятия решения о предоставлении земельного участка или подписания протокола о результатах торгов не было получено разрешение на ввод в эксплуатацию, за исключением Билибинского МР, в котором не получено разрешение на ввод в эксплуатацию 1 280 кв. м объектов жилищного строительство и 3 562 кв. м земельных участков, предусмотренных под реконструкцию аэропорта Кепервеем, в связи с тем, что строительство указанных объектов не завершено. 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ctr" defTabSz="898525" eaLnBrk="0" hangingPunct="0"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ЖИЛИЩНО – КОММУНАЛЬНОЕ ХОЗЯЙСТВО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 100 % многоквартирных домов, в которых собственники помещений выбрали и реализуют один из способов управления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-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 городских округах Анадырь, Эгвекинот, Провиденском ГО, а также в Чукотском МР; 35 % - в Анадырском МР, 3 % - в Билибинском МР, 0% в ГО Певек. Низкое значение данного показателя обусловлено тем, что договора управления многоквартирными домами заключены администрациями муниципальных образований по итогам открытого конкурса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Более 80 % частных организаций сферы ЖКХ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 осуществляли деятельность в Чукотском и Анадырском муниципальных районах, 50 % - в ГО Эгвекинот, 33 % - в Провиденском ГО, 20 % - в ГО Анадырь. В Билибинском МР и ГО Певек присутствуют только организации ЖКХ муниципальной формы собственности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ГО Анадырь, Певек и Провиденском ГО все многоквартирные дома поставлены на кадастровый учёт, продолжается работа по постановке на учёт в ГО Эгвекинот (2020 год – 13,1 %), Билибинском (45,9 %) и Чукотском МР (80,6 %)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2020 году 126 семей улучшили жилищные условия, на конец 2020 года 1 417 семей состоят на учёте в качестве нуждающихся.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112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11266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66" r:id="rId6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270" name="Прямоугольник 6"/>
          <p:cNvSpPr>
            <a:spLocks noChangeArrowheads="1"/>
          </p:cNvSpPr>
          <p:nvPr/>
        </p:nvSpPr>
        <p:spPr bwMode="auto">
          <a:xfrm>
            <a:off x="142875" y="785813"/>
            <a:ext cx="8858250" cy="891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b="1" u="sng" dirty="0" smtClean="0">
                <a:latin typeface="Times New Roman" pitchFamily="18" charset="0"/>
                <a:cs typeface="Times New Roman" pitchFamily="18" charset="0"/>
              </a:rPr>
              <a:t>ОРГАНИЗАЦИЯ </a:t>
            </a: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МУНИЦИПАЛЬНОГО УПРАВЛЕНИЯ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 итогам 2020 года во всех муниципальных образованиях округа отмечено снижение доли налоговых и неналоговых (собственных) доходов местного бюджета. Это обусловлено увеличением безвозмездных поступлений из окружного бюджета в виде субсидий и дотаций на выравнивание бюджетной обеспеченности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Расходы бюджетов муниципальных образований на содержание работников местного самоуправления в расчете на одного жителя в 2020 году остались на уровне 2019 года, за исключением ГО Певек, где расходы снизились на 42 % за счёт увеличения численности населения и проведения организационно-штатных мероприятий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По итогам 2020 года во всех муниципальных образованиях округа: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отсутствуют объекты не завершенного в установленные сроки строительства, осуществляемого за счет средств местных бюджетов;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отсутствует просроченная кредиторская задолженность по оплате труда, включая начисления, муниципальных учреждений;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утверждён генеральный план городского округа (схема территориального планирования муниципального района);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отсутствуют организации муниципальной формы собственности, находящиеся в стадии банкротства, за исключением ГО Эгвекинот и Провиденского ГО. В ГО Эгвекинот в отношении одного предприятия - МУП «Шмидтовское торговое предприятие Иультинского муниципального района» - открыто конкурсное производство о признании его несостоятельным (банкротом), в Провиденском ГО на конец 2020 года на стадии банкротства находилось одно предприятие – МУП «</a:t>
            </a:r>
            <a:r>
              <a:rPr lang="ru-RU" sz="1300" dirty="0" err="1" smtClean="0">
                <a:latin typeface="Times New Roman" pitchFamily="18" charset="0"/>
                <a:cs typeface="Times New Roman" pitchFamily="18" charset="0"/>
              </a:rPr>
              <a:t>Провиденское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ЖКХ»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В 2020 году был проведён опрос населения о работе органов местного самоуправления. Среди опрошенных от 60 до 80 % удовлетворены деятельностью местных администраций в городских округах Певек, Эгвекинот и Чукотском МР, более 40 %  довольны работой ОМСУ в Анадырском МР и ГО Анадырь, низкие показатели отмечены в Провиденском ГО и Билибинском МР – 35 % и 27 % соответственно. 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Среднегодовая численность населения Чукотского АО по итогам 2020 года составила 49 908 человек и осталась на уровне 2019 года, без значительных колебаний по отдельным муниципальным образованиям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Fm3KeRVUyLGXqEKrO6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5RLhdvbkKRglkS9qAm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AKyPumU.Gu9oNxkbl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f9c_9O0qxP8HJk6jq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oi8nncO0mEOljVvjN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g5J_XYdkO3MLiquyGV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qFHI9Ij0Cv2uobGmN0Zg"/>
</p:tagLst>
</file>

<file path=ppt/theme/theme1.xml><?xml version="1.0" encoding="utf-8"?>
<a:theme xmlns:a="http://schemas.openxmlformats.org/drawingml/2006/main" name="Тема Offic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24</TotalTime>
  <Words>4239</Words>
  <Application>Microsoft Office PowerPoint</Application>
  <PresentationFormat>Экран (4:3)</PresentationFormat>
  <Paragraphs>1323</Paragraphs>
  <Slides>4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45</vt:i4>
      </vt:variant>
    </vt:vector>
  </HeadingPairs>
  <TitlesOfParts>
    <vt:vector size="50" baseType="lpstr">
      <vt:lpstr>Arial</vt:lpstr>
      <vt:lpstr>Calibri</vt:lpstr>
      <vt:lpstr>Times New Roman</vt:lpstr>
      <vt:lpstr>Arial Cyr</vt:lpstr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Удовлетворенность населения деятельностью органов местного самоуправления городского округа (муниципального района) (%)</vt:lpstr>
      <vt:lpstr>Среднегодовая численность населения (тыс. человек)</vt:lpstr>
      <vt:lpstr>Число субъектов малого и среднего предпринимательства  в расчете на 10 тыс. человек населения (ед.)</vt:lpstr>
      <vt:lpstr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 всех предприятий и организаций (%)</vt:lpstr>
      <vt:lpstr>Объём инвестиций в основной капитал в расчёте на одного жителя  (за исключением бюджетных средств) (рублей)</vt:lpstr>
      <vt:lpstr>Среднемесячная номинальная начисленная заработная плата работников крупных и средних предприятий и некоммерческих организаций (тыс. руб.)</vt:lpstr>
      <vt:lpstr>Среднемесячная номинальная начисленная заработная плата работников муниципальных дошкольных образовательных учреждений (тыс. руб.)</vt:lpstr>
      <vt:lpstr>Среднемесячная номинальная начисленная заработная плата работников муниципальных общеобразовательных учреждений (тыс. руб.)</vt:lpstr>
      <vt:lpstr>Среднемесячная номинальная начисленная заработная плата работников учителей муниципальных общеобразовательных учреждений (тыс. руб.)</vt:lpstr>
      <vt:lpstr>Среднемесячная номинальная начисленная заработная плата работников муниципальных  учреждений культуры и искусства (тыс. руб.)</vt:lpstr>
      <vt:lpstr>Среднемесячная номинальная начисленная заработная плата работников муниципальных  учреждений физической культуры и спорта (тыс. руб.)</vt:lpstr>
      <vt:lpstr>Доля детей в возрасте 1 - 6 лет, получающих дошкольную образовательную услугу и (или) услугу по их содержанию в муниципальных образовательных учреждениях в общей численности детей в возрасте 1 - 6 лет (%)</vt:lpstr>
      <vt:lpstr>Доля детей в возрасте 1-6 лет, стоящих на учете для определения  в муниципальные дошкольные образовательные учреждения,  в общей численности детей в возрасте 1-6 лет (%)</vt:lpstr>
      <vt:lpstr>Доля выпускников муниципальных общеобразовательных учреждений, не получивших аттестат о среднем (полном) образовании, в общей численности выпускников муниципальных общеобразовательных учреждений (%)</vt:lpstr>
      <vt:lpstr>Доля детей первой и второй групп здоровья в общей численности обучающихся в муниципальных общеобразовательных учреждениях (%)</vt:lpstr>
      <vt:lpstr>Расходы бюджета муниципального образования на общее образование в расчете на 1 обучающегося в муниципальных общеобразовательных учреждениях (тыс. руб.) </vt:lpstr>
      <vt:lpstr>Доля детей в возрасте 5 - 18 лет, получающих услуги по дополнительному образованию в организациях различной организационно-правовой формы и формы собственности, в общей численности детей данной возрастной группы (%) </vt:lpstr>
      <vt:lpstr>Доля населения, систематически занимающегося  физической культурой и спортом (%)</vt:lpstr>
      <vt:lpstr>Доля обучающихся, систематически занимающихся физической культурой и спортом, в общей численности обучающихся (%)</vt:lpstr>
      <vt:lpstr>Общая площадь жилых помещений, приходящихся в среднем на одного жителя (кв. м)</vt:lpstr>
      <vt:lpstr>Доля многоквартирных домов, в которых собственники помещений выбрали и реализуют один из способов управления МКД*, в общем числе МКД, в которых собственники помещений должны выбрать способ управления данными домами (%)</vt:lpstr>
      <vt:lpstr>Доля организаций коммунального комплекса, осуществляющих производство товаров, оказание услуг по водо-, тепло-, газо-, электроснабжению, водоотведению, очистке сточных вод, утилизации (захоронению) ТБО и использующих объекты коммунальной инфраструктуры на праве частной собственности, по договору аренды или концессии, участие субъекта РФ и (или) ГО (МР) в уставном капитале которых составляет не более 25 %, в общем числе организаций коммунального комплекса, осуществляющих свою деятельность на территории ГО (МР)   (%) </vt:lpstr>
      <vt:lpstr>Доля многоквартирных домов, расположенных на земельных участках, в отношении которых осуществлен государственный кадастровый учет  (%)</vt:lpstr>
      <vt:lpstr>Доля населения, получившего жилые помещения и улучшившего жилищные условия в отчетном году, в общей численности населения, состоящего на учете в качестве нуждающегося в жилых помещениях(%)</vt:lpstr>
      <vt:lpstr>Доля налоговых и неналоговых доходов местного бюджета (за исключением поступлений налоговых доходов по дополнительным нормативам отчислений) в общем объеме собственных доходов бюджета МО (без учета субвенций) (%)</vt:lpstr>
      <vt:lpstr>Расходы бюджета муниципального образования на содержание работников  органов местного самоуправления в расчете  на одного жителя муниципального образования (тыс. руб.)</vt:lpstr>
      <vt:lpstr>Удельная величина потребления электрической энергии в многоквартирных домах (кВт/час на 1 проживающего)</vt:lpstr>
      <vt:lpstr>Удельная величина потребления тепловой энергии в многоквартирных домах (Гкал на 1 кв. м общей площади )</vt:lpstr>
      <vt:lpstr>Удельная величина потребления горячей воды в многоквартирных домах (куб. м на 1 проживающего)</vt:lpstr>
      <vt:lpstr>Удельная величина потребления холодной воды в многоквартирных домах (куб. м на 1 проживающего)</vt:lpstr>
      <vt:lpstr>Удельная величина потребления электрической энергии  муниципальными бюджетными учреждениями  (кВт/час на 1 человека населения)</vt:lpstr>
      <vt:lpstr>Удельная величина потребления тепловой энергии муниципальными бюджетными учреждениями (Гкал на 1 кв. м общей площади )</vt:lpstr>
      <vt:lpstr>Удельная величина потребления горячей воды муниципальными бюджетными учреждениями (куб. м на 1 человека населения)</vt:lpstr>
      <vt:lpstr>Удельная величина потребления холодной воды муниципальными бюджетными учреждениями (куб. м на 1 человека населения)</vt:lpstr>
      <vt:lpstr>Рейтинг муниципальных образований Чукотского автономного округа по итогам комплексной оценки эффективности деятельности за 2020 год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User</cp:lastModifiedBy>
  <cp:revision>300</cp:revision>
  <dcterms:created xsi:type="dcterms:W3CDTF">2020-06-16T09:51:04Z</dcterms:created>
  <dcterms:modified xsi:type="dcterms:W3CDTF">2021-09-29T16:20:36Z</dcterms:modified>
</cp:coreProperties>
</file>